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  <p:sldMasterId id="2147483686" r:id="rId6"/>
  </p:sldMasterIdLst>
  <p:handoutMasterIdLst>
    <p:handoutMasterId r:id="rId40"/>
  </p:handoutMasterIdLst>
  <p:sldIdLst>
    <p:sldId id="256" r:id="rId7"/>
    <p:sldId id="289" r:id="rId8"/>
    <p:sldId id="277" r:id="rId9"/>
    <p:sldId id="258" r:id="rId10"/>
    <p:sldId id="257" r:id="rId11"/>
    <p:sldId id="261" r:id="rId12"/>
    <p:sldId id="278" r:id="rId13"/>
    <p:sldId id="262" r:id="rId14"/>
    <p:sldId id="263" r:id="rId15"/>
    <p:sldId id="264" r:id="rId16"/>
    <p:sldId id="266" r:id="rId17"/>
    <p:sldId id="265" r:id="rId18"/>
    <p:sldId id="267" r:id="rId19"/>
    <p:sldId id="260" r:id="rId20"/>
    <p:sldId id="268" r:id="rId21"/>
    <p:sldId id="276" r:id="rId22"/>
    <p:sldId id="269" r:id="rId23"/>
    <p:sldId id="281" r:id="rId24"/>
    <p:sldId id="270" r:id="rId25"/>
    <p:sldId id="282" r:id="rId26"/>
    <p:sldId id="283" r:id="rId27"/>
    <p:sldId id="271" r:id="rId28"/>
    <p:sldId id="272" r:id="rId29"/>
    <p:sldId id="273" r:id="rId30"/>
    <p:sldId id="274" r:id="rId31"/>
    <p:sldId id="275" r:id="rId32"/>
    <p:sldId id="280" r:id="rId33"/>
    <p:sldId id="284" r:id="rId34"/>
    <p:sldId id="285" r:id="rId35"/>
    <p:sldId id="286" r:id="rId36"/>
    <p:sldId id="287" r:id="rId37"/>
    <p:sldId id="288" r:id="rId38"/>
    <p:sldId id="279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95F1E5-F020-4D4F-A737-AB7177724880}" v="1680" dt="2019-07-13T05:50:24.62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handoutMaster" Target="handoutMasters/handout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microsoft.com/office/2015/10/relationships/revisionInfo" Target="revisionInfo.xml"/><Relationship Id="rId20" Type="http://schemas.openxmlformats.org/officeDocument/2006/relationships/slide" Target="slides/slide14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ckson, Joel (Agoda)" userId="0c1eab1e-7049-49b6-a88a-c00dd5fe0472" providerId="ADAL" clId="{9187296D-2B36-418F-B063-17A4CE8F0996}"/>
    <pc:docChg chg="custSel addSld delSld modSld">
      <pc:chgData name="Dickson, Joel (Agoda)" userId="0c1eab1e-7049-49b6-a88a-c00dd5fe0472" providerId="ADAL" clId="{9187296D-2B36-418F-B063-17A4CE8F0996}" dt="2019-07-13T05:27:53.574" v="1520" actId="2696"/>
      <pc:docMkLst>
        <pc:docMk/>
      </pc:docMkLst>
      <pc:sldChg chg="modSp">
        <pc:chgData name="Dickson, Joel (Agoda)" userId="0c1eab1e-7049-49b6-a88a-c00dd5fe0472" providerId="ADAL" clId="{9187296D-2B36-418F-B063-17A4CE8F0996}" dt="2019-07-13T05:27:42.352" v="1518" actId="20577"/>
        <pc:sldMkLst>
          <pc:docMk/>
          <pc:sldMk cId="2879925301" sldId="256"/>
        </pc:sldMkLst>
        <pc:spChg chg="mod">
          <ac:chgData name="Dickson, Joel (Agoda)" userId="0c1eab1e-7049-49b6-a88a-c00dd5fe0472" providerId="ADAL" clId="{9187296D-2B36-418F-B063-17A4CE8F0996}" dt="2019-07-13T05:27:38.221" v="1515" actId="20577"/>
          <ac:spMkLst>
            <pc:docMk/>
            <pc:sldMk cId="2879925301" sldId="256"/>
            <ac:spMk id="2" creationId="{B6419901-E9BE-40FF-A9EE-2F5C96EA1C8B}"/>
          </ac:spMkLst>
        </pc:spChg>
        <pc:spChg chg="mod">
          <ac:chgData name="Dickson, Joel (Agoda)" userId="0c1eab1e-7049-49b6-a88a-c00dd5fe0472" providerId="ADAL" clId="{9187296D-2B36-418F-B063-17A4CE8F0996}" dt="2019-07-13T05:27:42.352" v="1518" actId="20577"/>
          <ac:spMkLst>
            <pc:docMk/>
            <pc:sldMk cId="2879925301" sldId="256"/>
            <ac:spMk id="3" creationId="{67DC8A04-B875-490B-ADEE-656F25BA0BCE}"/>
          </ac:spMkLst>
        </pc:spChg>
      </pc:sldChg>
      <pc:sldChg chg="modSp">
        <pc:chgData name="Dickson, Joel (Agoda)" userId="0c1eab1e-7049-49b6-a88a-c00dd5fe0472" providerId="ADAL" clId="{9187296D-2B36-418F-B063-17A4CE8F0996}" dt="2019-07-13T05:00:06.963" v="321" actId="20577"/>
        <pc:sldMkLst>
          <pc:docMk/>
          <pc:sldMk cId="123180964" sldId="270"/>
        </pc:sldMkLst>
        <pc:spChg chg="mod">
          <ac:chgData name="Dickson, Joel (Agoda)" userId="0c1eab1e-7049-49b6-a88a-c00dd5fe0472" providerId="ADAL" clId="{9187296D-2B36-418F-B063-17A4CE8F0996}" dt="2019-07-13T05:00:06.963" v="321" actId="20577"/>
          <ac:spMkLst>
            <pc:docMk/>
            <pc:sldMk cId="123180964" sldId="270"/>
            <ac:spMk id="3" creationId="{76AD75EE-1114-4BCF-856C-97A53364C236}"/>
          </ac:spMkLst>
        </pc:spChg>
      </pc:sldChg>
      <pc:sldChg chg="addSp delSp modSp">
        <pc:chgData name="Dickson, Joel (Agoda)" userId="0c1eab1e-7049-49b6-a88a-c00dd5fe0472" providerId="ADAL" clId="{9187296D-2B36-418F-B063-17A4CE8F0996}" dt="2019-07-13T05:03:47.056" v="366" actId="478"/>
        <pc:sldMkLst>
          <pc:docMk/>
          <pc:sldMk cId="4133991448" sldId="273"/>
        </pc:sldMkLst>
        <pc:spChg chg="add mod">
          <ac:chgData name="Dickson, Joel (Agoda)" userId="0c1eab1e-7049-49b6-a88a-c00dd5fe0472" providerId="ADAL" clId="{9187296D-2B36-418F-B063-17A4CE8F0996}" dt="2019-07-13T05:03:24.030" v="353" actId="20577"/>
          <ac:spMkLst>
            <pc:docMk/>
            <pc:sldMk cId="4133991448" sldId="273"/>
            <ac:spMk id="2" creationId="{8C83368E-B6F5-48E0-8651-F637CEF07BA6}"/>
          </ac:spMkLst>
        </pc:spChg>
        <pc:spChg chg="del">
          <ac:chgData name="Dickson, Joel (Agoda)" userId="0c1eab1e-7049-49b6-a88a-c00dd5fe0472" providerId="ADAL" clId="{9187296D-2B36-418F-B063-17A4CE8F0996}" dt="2019-07-13T05:03:47.056" v="366" actId="478"/>
          <ac:spMkLst>
            <pc:docMk/>
            <pc:sldMk cId="4133991448" sldId="273"/>
            <ac:spMk id="5" creationId="{39467596-52E4-4567-819D-7208ADC57EED}"/>
          </ac:spMkLst>
        </pc:spChg>
        <pc:spChg chg="add mod">
          <ac:chgData name="Dickson, Joel (Agoda)" userId="0c1eab1e-7049-49b6-a88a-c00dd5fe0472" providerId="ADAL" clId="{9187296D-2B36-418F-B063-17A4CE8F0996}" dt="2019-07-13T05:03:40.636" v="365" actId="20577"/>
          <ac:spMkLst>
            <pc:docMk/>
            <pc:sldMk cId="4133991448" sldId="273"/>
            <ac:spMk id="7" creationId="{E5ABB975-375A-4795-9D99-E47D380193B3}"/>
          </ac:spMkLst>
        </pc:spChg>
      </pc:sldChg>
      <pc:sldChg chg="addSp delSp modSp add">
        <pc:chgData name="Dickson, Joel (Agoda)" userId="0c1eab1e-7049-49b6-a88a-c00dd5fe0472" providerId="ADAL" clId="{9187296D-2B36-418F-B063-17A4CE8F0996}" dt="2019-07-13T05:27:00.502" v="1461" actId="20577"/>
        <pc:sldMkLst>
          <pc:docMk/>
          <pc:sldMk cId="4049623974" sldId="280"/>
        </pc:sldMkLst>
        <pc:spChg chg="mod">
          <ac:chgData name="Dickson, Joel (Agoda)" userId="0c1eab1e-7049-49b6-a88a-c00dd5fe0472" providerId="ADAL" clId="{9187296D-2B36-418F-B063-17A4CE8F0996}" dt="2019-07-13T05:05:40.701" v="486" actId="20577"/>
          <ac:spMkLst>
            <pc:docMk/>
            <pc:sldMk cId="4049623974" sldId="280"/>
            <ac:spMk id="2" creationId="{DD57A0B1-B175-4BB4-BDD0-072328AC4609}"/>
          </ac:spMkLst>
        </pc:spChg>
        <pc:spChg chg="mod">
          <ac:chgData name="Dickson, Joel (Agoda)" userId="0c1eab1e-7049-49b6-a88a-c00dd5fe0472" providerId="ADAL" clId="{9187296D-2B36-418F-B063-17A4CE8F0996}" dt="2019-07-13T05:27:00.502" v="1461" actId="20577"/>
          <ac:spMkLst>
            <pc:docMk/>
            <pc:sldMk cId="4049623974" sldId="280"/>
            <ac:spMk id="3" creationId="{5469A317-B6D0-4D65-B558-5704E88DCEDF}"/>
          </ac:spMkLst>
        </pc:spChg>
        <pc:picChg chg="add del mod">
          <ac:chgData name="Dickson, Joel (Agoda)" userId="0c1eab1e-7049-49b6-a88a-c00dd5fe0472" providerId="ADAL" clId="{9187296D-2B36-418F-B063-17A4CE8F0996}" dt="2019-07-13T05:08:53.586" v="511" actId="478"/>
          <ac:picMkLst>
            <pc:docMk/>
            <pc:sldMk cId="4049623974" sldId="280"/>
            <ac:picMk id="5" creationId="{E1F35D54-B188-47D8-BC7F-6E067C80389D}"/>
          </ac:picMkLst>
        </pc:picChg>
        <pc:picChg chg="add mod">
          <ac:chgData name="Dickson, Joel (Agoda)" userId="0c1eab1e-7049-49b6-a88a-c00dd5fe0472" providerId="ADAL" clId="{9187296D-2B36-418F-B063-17A4CE8F0996}" dt="2019-07-13T05:13:41.354" v="525" actId="1076"/>
          <ac:picMkLst>
            <pc:docMk/>
            <pc:sldMk cId="4049623974" sldId="280"/>
            <ac:picMk id="6" creationId="{0B381CC8-B25A-4626-AB45-CB733971F313}"/>
          </ac:picMkLst>
        </pc:picChg>
        <pc:picChg chg="add mod">
          <ac:chgData name="Dickson, Joel (Agoda)" userId="0c1eab1e-7049-49b6-a88a-c00dd5fe0472" providerId="ADAL" clId="{9187296D-2B36-418F-B063-17A4CE8F0996}" dt="2019-07-13T05:14:58.566" v="559" actId="1076"/>
          <ac:picMkLst>
            <pc:docMk/>
            <pc:sldMk cId="4049623974" sldId="280"/>
            <ac:picMk id="7" creationId="{20DE47C8-B3A4-4FD5-B56B-85844B789E1E}"/>
          </ac:picMkLst>
        </pc:picChg>
      </pc:sldChg>
      <pc:sldChg chg="addSp modSp add">
        <pc:chgData name="Dickson, Joel (Agoda)" userId="0c1eab1e-7049-49b6-a88a-c00dd5fe0472" providerId="ADAL" clId="{9187296D-2B36-418F-B063-17A4CE8F0996}" dt="2019-07-13T04:54:15.683" v="74" actId="1076"/>
        <pc:sldMkLst>
          <pc:docMk/>
          <pc:sldMk cId="3210477092" sldId="281"/>
        </pc:sldMkLst>
        <pc:spChg chg="mod">
          <ac:chgData name="Dickson, Joel (Agoda)" userId="0c1eab1e-7049-49b6-a88a-c00dd5fe0472" providerId="ADAL" clId="{9187296D-2B36-418F-B063-17A4CE8F0996}" dt="2019-07-13T04:53:54.449" v="68" actId="6549"/>
          <ac:spMkLst>
            <pc:docMk/>
            <pc:sldMk cId="3210477092" sldId="281"/>
            <ac:spMk id="2" creationId="{14F479EB-B56C-4341-A803-9ED377595619}"/>
          </ac:spMkLst>
        </pc:spChg>
        <pc:picChg chg="add mod">
          <ac:chgData name="Dickson, Joel (Agoda)" userId="0c1eab1e-7049-49b6-a88a-c00dd5fe0472" providerId="ADAL" clId="{9187296D-2B36-418F-B063-17A4CE8F0996}" dt="2019-07-13T04:54:00.782" v="72" actId="1076"/>
          <ac:picMkLst>
            <pc:docMk/>
            <pc:sldMk cId="3210477092" sldId="281"/>
            <ac:picMk id="5" creationId="{4E539005-FF72-4D39-B6B4-0B4B00931E2C}"/>
          </ac:picMkLst>
        </pc:picChg>
        <pc:picChg chg="add mod">
          <ac:chgData name="Dickson, Joel (Agoda)" userId="0c1eab1e-7049-49b6-a88a-c00dd5fe0472" providerId="ADAL" clId="{9187296D-2B36-418F-B063-17A4CE8F0996}" dt="2019-07-13T04:54:15.683" v="74" actId="1076"/>
          <ac:picMkLst>
            <pc:docMk/>
            <pc:sldMk cId="3210477092" sldId="281"/>
            <ac:picMk id="6" creationId="{7A0C6FB6-885D-485C-81C9-D828B19AD675}"/>
          </ac:picMkLst>
        </pc:picChg>
      </pc:sldChg>
      <pc:sldChg chg="addSp modSp add">
        <pc:chgData name="Dickson, Joel (Agoda)" userId="0c1eab1e-7049-49b6-a88a-c00dd5fe0472" providerId="ADAL" clId="{9187296D-2B36-418F-B063-17A4CE8F0996}" dt="2019-07-13T04:59:30.601" v="251" actId="20577"/>
        <pc:sldMkLst>
          <pc:docMk/>
          <pc:sldMk cId="380749523" sldId="282"/>
        </pc:sldMkLst>
        <pc:spChg chg="mod">
          <ac:chgData name="Dickson, Joel (Agoda)" userId="0c1eab1e-7049-49b6-a88a-c00dd5fe0472" providerId="ADAL" clId="{9187296D-2B36-418F-B063-17A4CE8F0996}" dt="2019-07-13T04:59:04.423" v="139" actId="20577"/>
          <ac:spMkLst>
            <pc:docMk/>
            <pc:sldMk cId="380749523" sldId="282"/>
            <ac:spMk id="2" creationId="{54A6AC8E-51CF-42B8-9187-CE1824EA9971}"/>
          </ac:spMkLst>
        </pc:spChg>
        <pc:spChg chg="mod">
          <ac:chgData name="Dickson, Joel (Agoda)" userId="0c1eab1e-7049-49b6-a88a-c00dd5fe0472" providerId="ADAL" clId="{9187296D-2B36-418F-B063-17A4CE8F0996}" dt="2019-07-13T04:59:30.601" v="251" actId="20577"/>
          <ac:spMkLst>
            <pc:docMk/>
            <pc:sldMk cId="380749523" sldId="282"/>
            <ac:spMk id="3" creationId="{9D9FCF8E-9167-49BA-AF3A-90897C7CEBD0}"/>
          </ac:spMkLst>
        </pc:spChg>
        <pc:picChg chg="add mod">
          <ac:chgData name="Dickson, Joel (Agoda)" userId="0c1eab1e-7049-49b6-a88a-c00dd5fe0472" providerId="ADAL" clId="{9187296D-2B36-418F-B063-17A4CE8F0996}" dt="2019-07-13T04:58:52.077" v="104" actId="1076"/>
          <ac:picMkLst>
            <pc:docMk/>
            <pc:sldMk cId="380749523" sldId="282"/>
            <ac:picMk id="5" creationId="{4FD9FC67-7613-44D1-B2AD-2D1EDD4DC16A}"/>
          </ac:picMkLst>
        </pc:picChg>
      </pc:sldChg>
      <pc:sldChg chg="modSp add">
        <pc:chgData name="Dickson, Joel (Agoda)" userId="0c1eab1e-7049-49b6-a88a-c00dd5fe0472" providerId="ADAL" clId="{9187296D-2B36-418F-B063-17A4CE8F0996}" dt="2019-07-13T05:00:38.189" v="337" actId="20577"/>
        <pc:sldMkLst>
          <pc:docMk/>
          <pc:sldMk cId="470931676" sldId="283"/>
        </pc:sldMkLst>
        <pc:spChg chg="mod">
          <ac:chgData name="Dickson, Joel (Agoda)" userId="0c1eab1e-7049-49b6-a88a-c00dd5fe0472" providerId="ADAL" clId="{9187296D-2B36-418F-B063-17A4CE8F0996}" dt="2019-07-13T04:59:52.621" v="294" actId="20577"/>
          <ac:spMkLst>
            <pc:docMk/>
            <pc:sldMk cId="470931676" sldId="283"/>
            <ac:spMk id="2" creationId="{6E297467-7B00-450E-985F-D3252F51FBE2}"/>
          </ac:spMkLst>
        </pc:spChg>
        <pc:spChg chg="mod">
          <ac:chgData name="Dickson, Joel (Agoda)" userId="0c1eab1e-7049-49b6-a88a-c00dd5fe0472" providerId="ADAL" clId="{9187296D-2B36-418F-B063-17A4CE8F0996}" dt="2019-07-13T05:00:38.189" v="337" actId="20577"/>
          <ac:spMkLst>
            <pc:docMk/>
            <pc:sldMk cId="470931676" sldId="283"/>
            <ac:spMk id="3" creationId="{F5B68A80-F990-43AD-ACAF-7C0F3A13FA7B}"/>
          </ac:spMkLst>
        </pc:spChg>
      </pc:sldChg>
      <pc:sldChg chg="addSp modSp add">
        <pc:chgData name="Dickson, Joel (Agoda)" userId="0c1eab1e-7049-49b6-a88a-c00dd5fe0472" providerId="ADAL" clId="{9187296D-2B36-418F-B063-17A4CE8F0996}" dt="2019-07-13T05:17:56.635" v="721" actId="14100"/>
        <pc:sldMkLst>
          <pc:docMk/>
          <pc:sldMk cId="474341646" sldId="284"/>
        </pc:sldMkLst>
        <pc:spChg chg="mod">
          <ac:chgData name="Dickson, Joel (Agoda)" userId="0c1eab1e-7049-49b6-a88a-c00dd5fe0472" providerId="ADAL" clId="{9187296D-2B36-418F-B063-17A4CE8F0996}" dt="2019-07-13T05:15:07.146" v="561"/>
          <ac:spMkLst>
            <pc:docMk/>
            <pc:sldMk cId="474341646" sldId="284"/>
            <ac:spMk id="2" creationId="{A811F21D-E970-4C51-A58F-FDF9A069691E}"/>
          </ac:spMkLst>
        </pc:spChg>
        <pc:spChg chg="mod">
          <ac:chgData name="Dickson, Joel (Agoda)" userId="0c1eab1e-7049-49b6-a88a-c00dd5fe0472" providerId="ADAL" clId="{9187296D-2B36-418F-B063-17A4CE8F0996}" dt="2019-07-13T05:17:56.635" v="721" actId="14100"/>
          <ac:spMkLst>
            <pc:docMk/>
            <pc:sldMk cId="474341646" sldId="284"/>
            <ac:spMk id="3" creationId="{B216388C-CCB7-4F33-A2BE-EB3244D61A4C}"/>
          </ac:spMkLst>
        </pc:spChg>
        <pc:picChg chg="add mod">
          <ac:chgData name="Dickson, Joel (Agoda)" userId="0c1eab1e-7049-49b6-a88a-c00dd5fe0472" providerId="ADAL" clId="{9187296D-2B36-418F-B063-17A4CE8F0996}" dt="2019-07-13T05:17:51.036" v="719" actId="1076"/>
          <ac:picMkLst>
            <pc:docMk/>
            <pc:sldMk cId="474341646" sldId="284"/>
            <ac:picMk id="5" creationId="{548D9282-B090-4543-ABD2-BCC56149216D}"/>
          </ac:picMkLst>
        </pc:picChg>
        <pc:picChg chg="add mod">
          <ac:chgData name="Dickson, Joel (Agoda)" userId="0c1eab1e-7049-49b6-a88a-c00dd5fe0472" providerId="ADAL" clId="{9187296D-2B36-418F-B063-17A4CE8F0996}" dt="2019-07-13T05:17:53.132" v="720" actId="1076"/>
          <ac:picMkLst>
            <pc:docMk/>
            <pc:sldMk cId="474341646" sldId="284"/>
            <ac:picMk id="6" creationId="{12CA37A0-0F1A-464B-9D6D-BBAF2FB95D83}"/>
          </ac:picMkLst>
        </pc:picChg>
      </pc:sldChg>
      <pc:sldChg chg="modSp add">
        <pc:chgData name="Dickson, Joel (Agoda)" userId="0c1eab1e-7049-49b6-a88a-c00dd5fe0472" providerId="ADAL" clId="{9187296D-2B36-418F-B063-17A4CE8F0996}" dt="2019-07-13T05:26:35.854" v="1451" actId="20577"/>
        <pc:sldMkLst>
          <pc:docMk/>
          <pc:sldMk cId="2276330328" sldId="285"/>
        </pc:sldMkLst>
        <pc:spChg chg="mod">
          <ac:chgData name="Dickson, Joel (Agoda)" userId="0c1eab1e-7049-49b6-a88a-c00dd5fe0472" providerId="ADAL" clId="{9187296D-2B36-418F-B063-17A4CE8F0996}" dt="2019-07-13T05:18:31.924" v="734" actId="20577"/>
          <ac:spMkLst>
            <pc:docMk/>
            <pc:sldMk cId="2276330328" sldId="285"/>
            <ac:spMk id="2" creationId="{CD93299D-3951-4CB0-A9A6-70A1A07555D3}"/>
          </ac:spMkLst>
        </pc:spChg>
        <pc:spChg chg="mod">
          <ac:chgData name="Dickson, Joel (Agoda)" userId="0c1eab1e-7049-49b6-a88a-c00dd5fe0472" providerId="ADAL" clId="{9187296D-2B36-418F-B063-17A4CE8F0996}" dt="2019-07-13T05:26:35.854" v="1451" actId="20577"/>
          <ac:spMkLst>
            <pc:docMk/>
            <pc:sldMk cId="2276330328" sldId="285"/>
            <ac:spMk id="3" creationId="{5C36006F-9259-4876-8326-FAF427DC4F49}"/>
          </ac:spMkLst>
        </pc:spChg>
      </pc:sldChg>
      <pc:sldChg chg="addSp delSp modSp add">
        <pc:chgData name="Dickson, Joel (Agoda)" userId="0c1eab1e-7049-49b6-a88a-c00dd5fe0472" providerId="ADAL" clId="{9187296D-2B36-418F-B063-17A4CE8F0996}" dt="2019-07-13T05:21:50.473" v="1165" actId="20577"/>
        <pc:sldMkLst>
          <pc:docMk/>
          <pc:sldMk cId="1157299209" sldId="286"/>
        </pc:sldMkLst>
        <pc:spChg chg="mod">
          <ac:chgData name="Dickson, Joel (Agoda)" userId="0c1eab1e-7049-49b6-a88a-c00dd5fe0472" providerId="ADAL" clId="{9187296D-2B36-418F-B063-17A4CE8F0996}" dt="2019-07-13T05:06:02.930" v="508" actId="20577"/>
          <ac:spMkLst>
            <pc:docMk/>
            <pc:sldMk cId="1157299209" sldId="286"/>
            <ac:spMk id="2" creationId="{E4DF1889-4401-4FD3-95A5-5A0745072FAC}"/>
          </ac:spMkLst>
        </pc:spChg>
        <pc:spChg chg="del mod">
          <ac:chgData name="Dickson, Joel (Agoda)" userId="0c1eab1e-7049-49b6-a88a-c00dd5fe0472" providerId="ADAL" clId="{9187296D-2B36-418F-B063-17A4CE8F0996}" dt="2019-07-13T05:20:05.299" v="934" actId="478"/>
          <ac:spMkLst>
            <pc:docMk/>
            <pc:sldMk cId="1157299209" sldId="286"/>
            <ac:spMk id="3" creationId="{B4C7FD8D-1ABA-48A9-9B89-CDDB0719093D}"/>
          </ac:spMkLst>
        </pc:spChg>
        <pc:spChg chg="add mod">
          <ac:chgData name="Dickson, Joel (Agoda)" userId="0c1eab1e-7049-49b6-a88a-c00dd5fe0472" providerId="ADAL" clId="{9187296D-2B36-418F-B063-17A4CE8F0996}" dt="2019-07-13T05:21:50.473" v="1165" actId="20577"/>
          <ac:spMkLst>
            <pc:docMk/>
            <pc:sldMk cId="1157299209" sldId="286"/>
            <ac:spMk id="6" creationId="{A659AEFD-705C-4812-B866-6D26443D6D17}"/>
          </ac:spMkLst>
        </pc:spChg>
        <pc:picChg chg="add mod">
          <ac:chgData name="Dickson, Joel (Agoda)" userId="0c1eab1e-7049-49b6-a88a-c00dd5fe0472" providerId="ADAL" clId="{9187296D-2B36-418F-B063-17A4CE8F0996}" dt="2019-07-13T05:20:51.897" v="945" actId="1076"/>
          <ac:picMkLst>
            <pc:docMk/>
            <pc:sldMk cId="1157299209" sldId="286"/>
            <ac:picMk id="7" creationId="{521660EF-0A38-44F2-AEAA-2B2004C9C360}"/>
          </ac:picMkLst>
        </pc:picChg>
        <pc:picChg chg="add mod">
          <ac:chgData name="Dickson, Joel (Agoda)" userId="0c1eab1e-7049-49b6-a88a-c00dd5fe0472" providerId="ADAL" clId="{9187296D-2B36-418F-B063-17A4CE8F0996}" dt="2019-07-13T05:20:54.234" v="946" actId="1076"/>
          <ac:picMkLst>
            <pc:docMk/>
            <pc:sldMk cId="1157299209" sldId="286"/>
            <ac:picMk id="8" creationId="{168287CE-2B7F-4568-A290-779BB69BDC2B}"/>
          </ac:picMkLst>
        </pc:picChg>
        <pc:picChg chg="add del mod">
          <ac:chgData name="Dickson, Joel (Agoda)" userId="0c1eab1e-7049-49b6-a88a-c00dd5fe0472" providerId="ADAL" clId="{9187296D-2B36-418F-B063-17A4CE8F0996}" dt="2019-07-13T05:20:23.909" v="941" actId="478"/>
          <ac:picMkLst>
            <pc:docMk/>
            <pc:sldMk cId="1157299209" sldId="286"/>
            <ac:picMk id="4098" creationId="{898B2428-E63D-43EF-8D69-F8CD3B639F14}"/>
          </ac:picMkLst>
        </pc:picChg>
        <pc:picChg chg="add del mod">
          <ac:chgData name="Dickson, Joel (Agoda)" userId="0c1eab1e-7049-49b6-a88a-c00dd5fe0472" providerId="ADAL" clId="{9187296D-2B36-418F-B063-17A4CE8F0996}" dt="2019-07-13T05:20:23.246" v="940" actId="478"/>
          <ac:picMkLst>
            <pc:docMk/>
            <pc:sldMk cId="1157299209" sldId="286"/>
            <ac:picMk id="4100" creationId="{99B8B554-63A7-407B-84C4-3BE847515FA6}"/>
          </ac:picMkLst>
        </pc:picChg>
      </pc:sldChg>
      <pc:sldChg chg="addSp modSp add">
        <pc:chgData name="Dickson, Joel (Agoda)" userId="0c1eab1e-7049-49b6-a88a-c00dd5fe0472" providerId="ADAL" clId="{9187296D-2B36-418F-B063-17A4CE8F0996}" dt="2019-07-13T05:23:12.251" v="1257" actId="20577"/>
        <pc:sldMkLst>
          <pc:docMk/>
          <pc:sldMk cId="2185652119" sldId="287"/>
        </pc:sldMkLst>
        <pc:spChg chg="mod">
          <ac:chgData name="Dickson, Joel (Agoda)" userId="0c1eab1e-7049-49b6-a88a-c00dd5fe0472" providerId="ADAL" clId="{9187296D-2B36-418F-B063-17A4CE8F0996}" dt="2019-07-13T05:22:25.052" v="1167"/>
          <ac:spMkLst>
            <pc:docMk/>
            <pc:sldMk cId="2185652119" sldId="287"/>
            <ac:spMk id="2" creationId="{29EBBED1-0F6A-4230-972B-E562291D8EFA}"/>
          </ac:spMkLst>
        </pc:spChg>
        <pc:spChg chg="mod">
          <ac:chgData name="Dickson, Joel (Agoda)" userId="0c1eab1e-7049-49b6-a88a-c00dd5fe0472" providerId="ADAL" clId="{9187296D-2B36-418F-B063-17A4CE8F0996}" dt="2019-07-13T05:23:12.251" v="1257" actId="20577"/>
          <ac:spMkLst>
            <pc:docMk/>
            <pc:sldMk cId="2185652119" sldId="287"/>
            <ac:spMk id="3" creationId="{6812B35F-91BD-4183-A542-52A9F9223BEA}"/>
          </ac:spMkLst>
        </pc:spChg>
        <pc:picChg chg="add mod">
          <ac:chgData name="Dickson, Joel (Agoda)" userId="0c1eab1e-7049-49b6-a88a-c00dd5fe0472" providerId="ADAL" clId="{9187296D-2B36-418F-B063-17A4CE8F0996}" dt="2019-07-13T05:22:55.829" v="1220" actId="1076"/>
          <ac:picMkLst>
            <pc:docMk/>
            <pc:sldMk cId="2185652119" sldId="287"/>
            <ac:picMk id="5" creationId="{BB45ABFF-2DF5-4E75-940F-8EB53FB03BDD}"/>
          </ac:picMkLst>
        </pc:picChg>
      </pc:sldChg>
      <pc:sldChg chg="addSp modSp add">
        <pc:chgData name="Dickson, Joel (Agoda)" userId="0c1eab1e-7049-49b6-a88a-c00dd5fe0472" providerId="ADAL" clId="{9187296D-2B36-418F-B063-17A4CE8F0996}" dt="2019-07-13T05:26:09.368" v="1443" actId="1076"/>
        <pc:sldMkLst>
          <pc:docMk/>
          <pc:sldMk cId="1498980492" sldId="288"/>
        </pc:sldMkLst>
        <pc:spChg chg="mod">
          <ac:chgData name="Dickson, Joel (Agoda)" userId="0c1eab1e-7049-49b6-a88a-c00dd5fe0472" providerId="ADAL" clId="{9187296D-2B36-418F-B063-17A4CE8F0996}" dt="2019-07-13T05:24:22.508" v="1291" actId="313"/>
          <ac:spMkLst>
            <pc:docMk/>
            <pc:sldMk cId="1498980492" sldId="288"/>
            <ac:spMk id="2" creationId="{922E3CE0-2C78-461A-B0D3-EBE892B4407A}"/>
          </ac:spMkLst>
        </pc:spChg>
        <pc:spChg chg="mod">
          <ac:chgData name="Dickson, Joel (Agoda)" userId="0c1eab1e-7049-49b6-a88a-c00dd5fe0472" providerId="ADAL" clId="{9187296D-2B36-418F-B063-17A4CE8F0996}" dt="2019-07-13T05:25:38.974" v="1442" actId="14100"/>
          <ac:spMkLst>
            <pc:docMk/>
            <pc:sldMk cId="1498980492" sldId="288"/>
            <ac:spMk id="3" creationId="{0CE6E0CE-F27B-4A35-8B5D-CE1CACA91256}"/>
          </ac:spMkLst>
        </pc:spChg>
        <pc:picChg chg="add mod">
          <ac:chgData name="Dickson, Joel (Agoda)" userId="0c1eab1e-7049-49b6-a88a-c00dd5fe0472" providerId="ADAL" clId="{9187296D-2B36-418F-B063-17A4CE8F0996}" dt="2019-07-13T05:26:09.368" v="1443" actId="1076"/>
          <ac:picMkLst>
            <pc:docMk/>
            <pc:sldMk cId="1498980492" sldId="288"/>
            <ac:picMk id="5" creationId="{592710EA-1CA7-426F-8C27-77A1D5EBE660}"/>
          </ac:picMkLst>
        </pc:picChg>
      </pc:sldChg>
      <pc:sldChg chg="add del">
        <pc:chgData name="Dickson, Joel (Agoda)" userId="0c1eab1e-7049-49b6-a88a-c00dd5fe0472" providerId="ADAL" clId="{9187296D-2B36-418F-B063-17A4CE8F0996}" dt="2019-07-13T05:27:53.574" v="1520" actId="2696"/>
        <pc:sldMkLst>
          <pc:docMk/>
          <pc:sldMk cId="1499123306" sldId="289"/>
        </pc:sldMkLst>
      </pc:sldChg>
    </pc:docChg>
  </pc:docChgLst>
  <pc:docChgLst>
    <pc:chgData name="Dickson, Joel (Agoda)" userId="0c1eab1e-7049-49b6-a88a-c00dd5fe0472" providerId="ADAL" clId="{C195F1E5-F020-4D4F-A737-AB7177724880}"/>
    <pc:docChg chg="undo custSel addSld modSld">
      <pc:chgData name="Dickson, Joel (Agoda)" userId="0c1eab1e-7049-49b6-a88a-c00dd5fe0472" providerId="ADAL" clId="{C195F1E5-F020-4D4F-A737-AB7177724880}" dt="2019-07-13T05:50:24.626" v="158" actId="313"/>
      <pc:docMkLst>
        <pc:docMk/>
      </pc:docMkLst>
      <pc:sldChg chg="modSp">
        <pc:chgData name="Dickson, Joel (Agoda)" userId="0c1eab1e-7049-49b6-a88a-c00dd5fe0472" providerId="ADAL" clId="{C195F1E5-F020-4D4F-A737-AB7177724880}" dt="2019-07-13T05:41:43.267" v="147" actId="20577"/>
        <pc:sldMkLst>
          <pc:docMk/>
          <pc:sldMk cId="2879925301" sldId="256"/>
        </pc:sldMkLst>
        <pc:spChg chg="mod">
          <ac:chgData name="Dickson, Joel (Agoda)" userId="0c1eab1e-7049-49b6-a88a-c00dd5fe0472" providerId="ADAL" clId="{C195F1E5-F020-4D4F-A737-AB7177724880}" dt="2019-07-13T05:41:43.267" v="147" actId="20577"/>
          <ac:spMkLst>
            <pc:docMk/>
            <pc:sldMk cId="2879925301" sldId="256"/>
            <ac:spMk id="3" creationId="{67DC8A04-B875-490B-ADEE-656F25BA0BCE}"/>
          </ac:spMkLst>
        </pc:spChg>
      </pc:sldChg>
      <pc:sldChg chg="addSp delSp modSp">
        <pc:chgData name="Dickson, Joel (Agoda)" userId="0c1eab1e-7049-49b6-a88a-c00dd5fe0472" providerId="ADAL" clId="{C195F1E5-F020-4D4F-A737-AB7177724880}" dt="2019-07-13T05:38:57.318" v="130" actId="20577"/>
        <pc:sldMkLst>
          <pc:docMk/>
          <pc:sldMk cId="2065720705" sldId="279"/>
        </pc:sldMkLst>
        <pc:spChg chg="mod">
          <ac:chgData name="Dickson, Joel (Agoda)" userId="0c1eab1e-7049-49b6-a88a-c00dd5fe0472" providerId="ADAL" clId="{C195F1E5-F020-4D4F-A737-AB7177724880}" dt="2019-07-13T05:38:57.318" v="130" actId="20577"/>
          <ac:spMkLst>
            <pc:docMk/>
            <pc:sldMk cId="2065720705" sldId="279"/>
            <ac:spMk id="2" creationId="{7FA694E5-6CA0-49FA-9849-496DEEB9BA28}"/>
          </ac:spMkLst>
        </pc:spChg>
        <pc:spChg chg="del">
          <ac:chgData name="Dickson, Joel (Agoda)" userId="0c1eab1e-7049-49b6-a88a-c00dd5fe0472" providerId="ADAL" clId="{C195F1E5-F020-4D4F-A737-AB7177724880}" dt="2019-07-13T05:38:18.911" v="76"/>
          <ac:spMkLst>
            <pc:docMk/>
            <pc:sldMk cId="2065720705" sldId="279"/>
            <ac:spMk id="3" creationId="{23E7CE53-DE59-4A6B-AC7A-3E71061D8C20}"/>
          </ac:spMkLst>
        </pc:spChg>
        <pc:spChg chg="del">
          <ac:chgData name="Dickson, Joel (Agoda)" userId="0c1eab1e-7049-49b6-a88a-c00dd5fe0472" providerId="ADAL" clId="{C195F1E5-F020-4D4F-A737-AB7177724880}" dt="2019-07-13T05:38:18.911" v="76"/>
          <ac:spMkLst>
            <pc:docMk/>
            <pc:sldMk cId="2065720705" sldId="279"/>
            <ac:spMk id="4" creationId="{B6671A32-7BAC-42EA-B6E1-141BC1FD60D4}"/>
          </ac:spMkLst>
        </pc:spChg>
        <pc:spChg chg="add mod">
          <ac:chgData name="Dickson, Joel (Agoda)" userId="0c1eab1e-7049-49b6-a88a-c00dd5fe0472" providerId="ADAL" clId="{C195F1E5-F020-4D4F-A737-AB7177724880}" dt="2019-07-13T05:38:23.016" v="83" actId="20577"/>
          <ac:spMkLst>
            <pc:docMk/>
            <pc:sldMk cId="2065720705" sldId="279"/>
            <ac:spMk id="5" creationId="{5C45C4C9-73EC-486B-8E7C-355BEC714125}"/>
          </ac:spMkLst>
        </pc:spChg>
      </pc:sldChg>
      <pc:sldChg chg="delSp">
        <pc:chgData name="Dickson, Joel (Agoda)" userId="0c1eab1e-7049-49b6-a88a-c00dd5fe0472" providerId="ADAL" clId="{C195F1E5-F020-4D4F-A737-AB7177724880}" dt="2019-07-13T05:37:45.329" v="75" actId="478"/>
        <pc:sldMkLst>
          <pc:docMk/>
          <pc:sldMk cId="3210477092" sldId="281"/>
        </pc:sldMkLst>
        <pc:spChg chg="del">
          <ac:chgData name="Dickson, Joel (Agoda)" userId="0c1eab1e-7049-49b6-a88a-c00dd5fe0472" providerId="ADAL" clId="{C195F1E5-F020-4D4F-A737-AB7177724880}" dt="2019-07-13T05:37:45.329" v="75" actId="478"/>
          <ac:spMkLst>
            <pc:docMk/>
            <pc:sldMk cId="3210477092" sldId="281"/>
            <ac:spMk id="3" creationId="{EEA22F20-545F-41F7-A7FC-596EFBF213CA}"/>
          </ac:spMkLst>
        </pc:spChg>
      </pc:sldChg>
      <pc:sldChg chg="modSp">
        <pc:chgData name="Dickson, Joel (Agoda)" userId="0c1eab1e-7049-49b6-a88a-c00dd5fe0472" providerId="ADAL" clId="{C195F1E5-F020-4D4F-A737-AB7177724880}" dt="2019-07-13T05:50:14.492" v="157" actId="113"/>
        <pc:sldMkLst>
          <pc:docMk/>
          <pc:sldMk cId="2276330328" sldId="285"/>
        </pc:sldMkLst>
        <pc:spChg chg="mod">
          <ac:chgData name="Dickson, Joel (Agoda)" userId="0c1eab1e-7049-49b6-a88a-c00dd5fe0472" providerId="ADAL" clId="{C195F1E5-F020-4D4F-A737-AB7177724880}" dt="2019-07-13T05:50:14.492" v="157" actId="113"/>
          <ac:spMkLst>
            <pc:docMk/>
            <pc:sldMk cId="2276330328" sldId="285"/>
            <ac:spMk id="3" creationId="{5C36006F-9259-4876-8326-FAF427DC4F49}"/>
          </ac:spMkLst>
        </pc:spChg>
      </pc:sldChg>
      <pc:sldChg chg="modSp">
        <pc:chgData name="Dickson, Joel (Agoda)" userId="0c1eab1e-7049-49b6-a88a-c00dd5fe0472" providerId="ADAL" clId="{C195F1E5-F020-4D4F-A737-AB7177724880}" dt="2019-07-13T05:50:24.626" v="158" actId="313"/>
        <pc:sldMkLst>
          <pc:docMk/>
          <pc:sldMk cId="2185652119" sldId="287"/>
        </pc:sldMkLst>
        <pc:spChg chg="mod">
          <ac:chgData name="Dickson, Joel (Agoda)" userId="0c1eab1e-7049-49b6-a88a-c00dd5fe0472" providerId="ADAL" clId="{C195F1E5-F020-4D4F-A737-AB7177724880}" dt="2019-07-13T05:50:24.626" v="158" actId="313"/>
          <ac:spMkLst>
            <pc:docMk/>
            <pc:sldMk cId="2185652119" sldId="287"/>
            <ac:spMk id="3" creationId="{6812B35F-91BD-4183-A542-52A9F9223BEA}"/>
          </ac:spMkLst>
        </pc:spChg>
      </pc:sldChg>
      <pc:sldChg chg="addSp delSp modSp add">
        <pc:chgData name="Dickson, Joel (Agoda)" userId="0c1eab1e-7049-49b6-a88a-c00dd5fe0472" providerId="ADAL" clId="{C195F1E5-F020-4D4F-A737-AB7177724880}" dt="2019-07-13T05:37:01.675" v="74" actId="167"/>
        <pc:sldMkLst>
          <pc:docMk/>
          <pc:sldMk cId="2883461557" sldId="289"/>
        </pc:sldMkLst>
        <pc:spChg chg="del">
          <ac:chgData name="Dickson, Joel (Agoda)" userId="0c1eab1e-7049-49b6-a88a-c00dd5fe0472" providerId="ADAL" clId="{C195F1E5-F020-4D4F-A737-AB7177724880}" dt="2019-07-13T05:32:05.387" v="1"/>
          <ac:spMkLst>
            <pc:docMk/>
            <pc:sldMk cId="2883461557" sldId="289"/>
            <ac:spMk id="2" creationId="{9EBFD0B4-610A-4E47-92CB-E3098F310A43}"/>
          </ac:spMkLst>
        </pc:spChg>
        <pc:spChg chg="del">
          <ac:chgData name="Dickson, Joel (Agoda)" userId="0c1eab1e-7049-49b6-a88a-c00dd5fe0472" providerId="ADAL" clId="{C195F1E5-F020-4D4F-A737-AB7177724880}" dt="2019-07-13T05:32:05.387" v="1"/>
          <ac:spMkLst>
            <pc:docMk/>
            <pc:sldMk cId="2883461557" sldId="289"/>
            <ac:spMk id="3" creationId="{7CCE50C7-F138-4396-A4D4-47BAC7D779AB}"/>
          </ac:spMkLst>
        </pc:spChg>
        <pc:spChg chg="add del mod">
          <ac:chgData name="Dickson, Joel (Agoda)" userId="0c1eab1e-7049-49b6-a88a-c00dd5fe0472" providerId="ADAL" clId="{C195F1E5-F020-4D4F-A737-AB7177724880}" dt="2019-07-13T05:33:28.556" v="26" actId="478"/>
          <ac:spMkLst>
            <pc:docMk/>
            <pc:sldMk cId="2883461557" sldId="289"/>
            <ac:spMk id="4" creationId="{DE1A2D7B-3280-4ACE-8B84-BA9357D260A6}"/>
          </ac:spMkLst>
        </pc:spChg>
        <pc:spChg chg="add mod">
          <ac:chgData name="Dickson, Joel (Agoda)" userId="0c1eab1e-7049-49b6-a88a-c00dd5fe0472" providerId="ADAL" clId="{C195F1E5-F020-4D4F-A737-AB7177724880}" dt="2019-07-13T05:35:44.013" v="72" actId="1076"/>
          <ac:spMkLst>
            <pc:docMk/>
            <pc:sldMk cId="2883461557" sldId="289"/>
            <ac:spMk id="5" creationId="{ACC57C4E-9036-4980-B3AE-53C1CB053F53}"/>
          </ac:spMkLst>
        </pc:spChg>
        <pc:spChg chg="add mod ord">
          <ac:chgData name="Dickson, Joel (Agoda)" userId="0c1eab1e-7049-49b6-a88a-c00dd5fe0472" providerId="ADAL" clId="{C195F1E5-F020-4D4F-A737-AB7177724880}" dt="2019-07-13T05:37:01.675" v="74" actId="167"/>
          <ac:spMkLst>
            <pc:docMk/>
            <pc:sldMk cId="2883461557" sldId="289"/>
            <ac:spMk id="8" creationId="{3D0EBA90-4EF0-488D-9CB4-B1BF5E437D81}"/>
          </ac:spMkLst>
        </pc:spChg>
        <pc:picChg chg="add mod">
          <ac:chgData name="Dickson, Joel (Agoda)" userId="0c1eab1e-7049-49b6-a88a-c00dd5fe0472" providerId="ADAL" clId="{C195F1E5-F020-4D4F-A737-AB7177724880}" dt="2019-07-13T05:32:36.882" v="10" actId="14100"/>
          <ac:picMkLst>
            <pc:docMk/>
            <pc:sldMk cId="2883461557" sldId="289"/>
            <ac:picMk id="6" creationId="{86558390-A209-450F-A2D2-1443E06785CA}"/>
          </ac:picMkLst>
        </pc:picChg>
        <pc:picChg chg="add mod">
          <ac:chgData name="Dickson, Joel (Agoda)" userId="0c1eab1e-7049-49b6-a88a-c00dd5fe0472" providerId="ADAL" clId="{C195F1E5-F020-4D4F-A737-AB7177724880}" dt="2019-07-13T05:32:42.779" v="12" actId="14100"/>
          <ac:picMkLst>
            <pc:docMk/>
            <pc:sldMk cId="2883461557" sldId="289"/>
            <ac:picMk id="7" creationId="{A7A246E2-0217-40A3-9B03-055BAC2EECCB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E59FCDB-1997-4044-B6D8-55BD5ABA9A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00F30B-8BE2-41CA-91B1-55E440F16D9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ECDCBE-29F9-45AF-AC34-C6F978C3EF38}" type="datetimeFigureOut">
              <a:rPr lang="en-US" smtClean="0"/>
              <a:t>7/1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A15300-67AA-4973-AAE6-FFDF50DA8F6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7DC612-B179-44A8-996E-914B4CE414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AB636-5D6C-4135-8A26-86A4290ED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020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987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805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8051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91344" y="279856"/>
            <a:ext cx="1177205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2800" b="0">
                <a:solidFill>
                  <a:srgbClr val="32323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209972" y="914401"/>
            <a:ext cx="11772056" cy="14280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itchFamily="34" charset="0"/>
              <a:buNone/>
              <a:defRPr sz="1600">
                <a:solidFill>
                  <a:srgbClr val="1E1E1E"/>
                </a:solidFill>
                <a:latin typeface="+mn-lt"/>
              </a:defRPr>
            </a:lvl1pPr>
            <a:lvl2pPr marL="228600" indent="-171450">
              <a:buFont typeface="Arial" pitchFamily="34" charset="0"/>
              <a:buChar char="•"/>
              <a:defRPr sz="1600">
                <a:solidFill>
                  <a:srgbClr val="1E1E1E"/>
                </a:solidFill>
                <a:latin typeface="+mn-lt"/>
              </a:defRPr>
            </a:lvl2pPr>
            <a:lvl3pPr marL="400050" indent="-171450">
              <a:buFont typeface="Arial" pitchFamily="34" charset="0"/>
              <a:buChar char="‒"/>
              <a:defRPr sz="1600">
                <a:solidFill>
                  <a:srgbClr val="1E1E1E"/>
                </a:solidFill>
                <a:latin typeface="+mn-lt"/>
              </a:defRPr>
            </a:lvl3pPr>
            <a:lvl4pPr marL="685800" indent="-228600">
              <a:buFont typeface="Courier New" pitchFamily="49" charset="0"/>
              <a:buChar char="o"/>
              <a:defRPr sz="1600">
                <a:solidFill>
                  <a:srgbClr val="1E1E1E"/>
                </a:solidFill>
                <a:latin typeface="+mn-lt"/>
              </a:defRPr>
            </a:lvl4pPr>
            <a:lvl5pPr marL="857250" indent="-171450">
              <a:buFont typeface="Arial" pitchFamily="34" charset="0"/>
              <a:buChar char="▪"/>
              <a:defRPr sz="1600">
                <a:solidFill>
                  <a:srgbClr val="1E1E1E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209972" y="6030598"/>
            <a:ext cx="11772056" cy="33855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000" dirty="0" smtClean="0">
                <a:solidFill>
                  <a:srgbClr val="1E1E1E"/>
                </a:solidFill>
              </a:defRPr>
            </a:lvl1pPr>
          </a:lstStyle>
          <a:p>
            <a:pPr marL="177800" lvl="0" indent="-177800">
              <a:buAutoNum type="arabicParenR"/>
            </a:pPr>
            <a:r>
              <a:rPr lang="en-US" dirty="0"/>
              <a:t>Click to edit master text styles</a:t>
            </a:r>
          </a:p>
          <a:p>
            <a:pPr marL="177800" lvl="0" indent="-177800"/>
            <a:r>
              <a:rPr lang="en-US" dirty="0"/>
              <a:t>Source: 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E915B7-5457-4615-959B-486DCD2716F9}"/>
              </a:ext>
            </a:extLst>
          </p:cNvPr>
          <p:cNvSpPr/>
          <p:nvPr userDrawn="1"/>
        </p:nvSpPr>
        <p:spPr>
          <a:xfrm>
            <a:off x="11816919" y="6553200"/>
            <a:ext cx="165109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A5032D-A706-45B2-A1B5-4389052FDDCB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67660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29"/>
          <p:cNvSpPr>
            <a:spLocks noGrp="1"/>
          </p:cNvSpPr>
          <p:nvPr>
            <p:ph type="ctrTitle" hasCustomPrompt="1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anchor="ctr"/>
          <a:lstStyle>
            <a:lvl1pPr algn="ctr">
              <a:defRPr b="0">
                <a:solidFill>
                  <a:srgbClr val="32323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Subtitle 30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rgbClr val="323232"/>
                </a:solidFill>
              </a:defRPr>
            </a:lvl1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5867400"/>
            <a:ext cx="12192000" cy="990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486339"/>
            <a:ext cx="2304256" cy="134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1534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416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518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972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523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6670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325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961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579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7C06C3-BB86-4A6F-B0E6-8C0B4B3C74D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93C1D1-5B77-4D07-9319-FBEA4EBD21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324600"/>
            <a:ext cx="12192000" cy="533400"/>
          </a:xfrm>
          <a:prstGeom prst="rect">
            <a:avLst/>
          </a:prstGeom>
          <a:gradFill>
            <a:gsLst>
              <a:gs pos="0">
                <a:srgbClr val="E5E5E5"/>
              </a:gs>
              <a:gs pos="0">
                <a:schemeClr val="accent1">
                  <a:tint val="44500"/>
                  <a:satMod val="160000"/>
                </a:schemeClr>
              </a:gs>
              <a:gs pos="71000">
                <a:schemeClr val="bg1"/>
              </a:gs>
              <a:gs pos="43000">
                <a:srgbClr val="E5E5E5"/>
              </a:gs>
              <a:gs pos="0">
                <a:srgbClr val="E5E5E5"/>
              </a:gs>
            </a:gsLst>
            <a:lin ang="21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3477" y="6487683"/>
            <a:ext cx="1794698" cy="233792"/>
          </a:xfrm>
          <a:prstGeom prst="rect">
            <a:avLst/>
          </a:prstGeom>
        </p:spPr>
      </p:pic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-228600" y="6358156"/>
            <a:ext cx="514756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666666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All material herein © 2005 – 2016 Agoda group of companies. All Rights Reserved.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666666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AGODA® is a registered trademark of AGIP LLC, used under license by Agoda Company Pte. Ltd.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666666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Agoda is part of priceline.com (NASDAQ:PCLN)</a:t>
            </a:r>
          </a:p>
        </p:txBody>
      </p:sp>
    </p:spTree>
    <p:extLst>
      <p:ext uri="{BB962C8B-B14F-4D97-AF65-F5344CB8AC3E}">
        <p14:creationId xmlns:p14="http://schemas.microsoft.com/office/powerpoint/2010/main" val="1545865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slide_style-01.pn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333"/>
          <a:stretch/>
        </p:blipFill>
        <p:spPr>
          <a:xfrm>
            <a:off x="0" y="0"/>
            <a:ext cx="12192000" cy="45719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211844" y="6381327"/>
            <a:ext cx="11768312" cy="370167"/>
            <a:chOff x="195088" y="6381327"/>
            <a:chExt cx="11768312" cy="370167"/>
          </a:xfrm>
        </p:grpSpPr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1038684" y="6474495"/>
              <a:ext cx="3137397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1" indent="0" algn="l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BFC1C3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onfidential © 2019 Agoda  |  Internal use only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BFC1C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" name="object 23"/>
            <p:cNvSpPr/>
            <p:nvPr userDrawn="1"/>
          </p:nvSpPr>
          <p:spPr>
            <a:xfrm>
              <a:off x="195088" y="6381327"/>
              <a:ext cx="11768312" cy="45719"/>
            </a:xfrm>
            <a:custGeom>
              <a:avLst/>
              <a:gdLst/>
              <a:ahLst/>
              <a:cxnLst/>
              <a:rect l="l" t="t" r="r" b="b"/>
              <a:pathLst>
                <a:path w="13893800">
                  <a:moveTo>
                    <a:pt x="0" y="0"/>
                  </a:moveTo>
                  <a:lnTo>
                    <a:pt x="13893800" y="0"/>
                  </a:lnTo>
                </a:path>
              </a:pathLst>
            </a:custGeom>
            <a:ln w="6350">
              <a:solidFill>
                <a:srgbClr val="BCBEC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9" name="object 24"/>
            <p:cNvSpPr/>
            <p:nvPr userDrawn="1"/>
          </p:nvSpPr>
          <p:spPr>
            <a:xfrm flipH="1">
              <a:off x="911424" y="6474495"/>
              <a:ext cx="45719" cy="276999"/>
            </a:xfrm>
            <a:custGeom>
              <a:avLst/>
              <a:gdLst/>
              <a:ahLst/>
              <a:cxnLst/>
              <a:rect l="l" t="t" r="r" b="b"/>
              <a:pathLst>
                <a:path h="224790">
                  <a:moveTo>
                    <a:pt x="0" y="224663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BCBEC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0" name="object 25"/>
            <p:cNvSpPr/>
            <p:nvPr userDrawn="1"/>
          </p:nvSpPr>
          <p:spPr>
            <a:xfrm>
              <a:off x="205705" y="6484623"/>
              <a:ext cx="638570" cy="25674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8596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slide_style-01.pn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333"/>
          <a:stretch/>
        </p:blipFill>
        <p:spPr>
          <a:xfrm>
            <a:off x="0" y="0"/>
            <a:ext cx="12192000" cy="45719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211844" y="6381327"/>
            <a:ext cx="11768312" cy="370167"/>
            <a:chOff x="195088" y="6381327"/>
            <a:chExt cx="11768312" cy="370167"/>
          </a:xfrm>
        </p:grpSpPr>
        <p:sp>
          <p:nvSpPr>
            <p:cNvPr id="24" name="Rectangle 5"/>
            <p:cNvSpPr>
              <a:spLocks noChangeArrowheads="1"/>
            </p:cNvSpPr>
            <p:nvPr userDrawn="1"/>
          </p:nvSpPr>
          <p:spPr bwMode="auto">
            <a:xfrm>
              <a:off x="1038684" y="6474495"/>
              <a:ext cx="3137397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1" indent="0" algn="l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BFC1C3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onfidential © 2019 Agoda  |  Internal use only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BFC1C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" name="object 23"/>
            <p:cNvSpPr/>
            <p:nvPr userDrawn="1"/>
          </p:nvSpPr>
          <p:spPr>
            <a:xfrm>
              <a:off x="195088" y="6381327"/>
              <a:ext cx="11768312" cy="45719"/>
            </a:xfrm>
            <a:custGeom>
              <a:avLst/>
              <a:gdLst/>
              <a:ahLst/>
              <a:cxnLst/>
              <a:rect l="l" t="t" r="r" b="b"/>
              <a:pathLst>
                <a:path w="13893800">
                  <a:moveTo>
                    <a:pt x="0" y="0"/>
                  </a:moveTo>
                  <a:lnTo>
                    <a:pt x="13893800" y="0"/>
                  </a:lnTo>
                </a:path>
              </a:pathLst>
            </a:custGeom>
            <a:ln w="6350">
              <a:solidFill>
                <a:srgbClr val="BCBEC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7" name="object 24"/>
            <p:cNvSpPr/>
            <p:nvPr userDrawn="1"/>
          </p:nvSpPr>
          <p:spPr>
            <a:xfrm flipH="1">
              <a:off x="911424" y="6474495"/>
              <a:ext cx="45719" cy="276999"/>
            </a:xfrm>
            <a:custGeom>
              <a:avLst/>
              <a:gdLst/>
              <a:ahLst/>
              <a:cxnLst/>
              <a:rect l="l" t="t" r="r" b="b"/>
              <a:pathLst>
                <a:path h="224790">
                  <a:moveTo>
                    <a:pt x="0" y="224663"/>
                  </a:moveTo>
                  <a:lnTo>
                    <a:pt x="0" y="0"/>
                  </a:lnTo>
                </a:path>
              </a:pathLst>
            </a:custGeom>
            <a:ln w="6350">
              <a:solidFill>
                <a:srgbClr val="BCBEC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8" name="object 25"/>
            <p:cNvSpPr/>
            <p:nvPr userDrawn="1"/>
          </p:nvSpPr>
          <p:spPr>
            <a:xfrm>
              <a:off x="205705" y="6484623"/>
              <a:ext cx="638570" cy="25674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3794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mobxjs/mobx-react-todomvc" TargetMode="Externa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hyperlink" Target="http://localhost:3000/#/" TargetMode="Externa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19901-E9BE-40FF-A9EE-2F5C96EA1C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Tech@Agoda</a:t>
            </a:r>
            <a:r>
              <a:rPr lang="en-US" dirty="0"/>
              <a:t> – </a:t>
            </a:r>
            <a:br>
              <a:rPr lang="en-US" dirty="0"/>
            </a:br>
            <a:r>
              <a:rPr lang="en-US" dirty="0"/>
              <a:t>Docker for Dev Zero to Hero</a:t>
            </a:r>
            <a:br>
              <a:rPr lang="en-US" dirty="0"/>
            </a:br>
            <a:r>
              <a:rPr lang="en-US" dirty="0"/>
              <a:t>(Workshop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DC8A04-B875-490B-ADEE-656F25BA0B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Joel and Prateek </a:t>
            </a:r>
          </a:p>
        </p:txBody>
      </p:sp>
    </p:spTree>
    <p:extLst>
      <p:ext uri="{BB962C8B-B14F-4D97-AF65-F5344CB8AC3E}">
        <p14:creationId xmlns:p14="http://schemas.microsoft.com/office/powerpoint/2010/main" val="2879925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3A2EAD-1298-40E9-A096-D9121EA918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ild a project form a mount volu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1D4CCD-1C58-48BE-8B6C-AD92E4B1022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4358116"/>
          </a:xfrm>
        </p:spPr>
        <p:txBody>
          <a:bodyPr/>
          <a:lstStyle/>
          <a:p>
            <a:endParaRPr lang="en-US" sz="2400" dirty="0"/>
          </a:p>
          <a:p>
            <a:r>
              <a:rPr lang="en-US" sz="2400" dirty="0"/>
              <a:t>Git clone </a:t>
            </a:r>
            <a:r>
              <a:rPr lang="en-US" sz="2400" dirty="0">
                <a:hlinkClick r:id="rId2"/>
              </a:rPr>
              <a:t>https://github.com/mobxjs/mobx-react-todomvc</a:t>
            </a:r>
            <a:r>
              <a:rPr lang="en-US" sz="2400" dirty="0"/>
              <a:t>.git</a:t>
            </a:r>
          </a:p>
          <a:p>
            <a:endParaRPr lang="en-US" sz="2400" dirty="0"/>
          </a:p>
          <a:p>
            <a:r>
              <a:rPr lang="en-US" sz="2400" dirty="0"/>
              <a:t>docker run  --volume=C:\source\</a:t>
            </a:r>
            <a:r>
              <a:rPr lang="en-US" sz="2400" dirty="0" err="1"/>
              <a:t>mobx</a:t>
            </a:r>
            <a:r>
              <a:rPr lang="en-US" sz="2400" dirty="0"/>
              <a:t>-react-</a:t>
            </a:r>
            <a:r>
              <a:rPr lang="en-US" sz="2400" dirty="0" err="1"/>
              <a:t>todomvc</a:t>
            </a:r>
            <a:r>
              <a:rPr lang="en-US" sz="2400" dirty="0"/>
              <a:t>:/app –w=/app </a:t>
            </a:r>
            <a:r>
              <a:rPr lang="en-US" sz="2400" dirty="0">
                <a:solidFill>
                  <a:schemeClr val="accent5"/>
                </a:solidFill>
              </a:rPr>
              <a:t>node</a:t>
            </a:r>
            <a:r>
              <a:rPr lang="en-US" sz="24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3">
                    <a:lumMod val="75000"/>
                  </a:schemeClr>
                </a:solidFill>
              </a:rPr>
              <a:t>npm</a:t>
            </a:r>
            <a:r>
              <a:rPr lang="en-US" sz="2400" dirty="0">
                <a:solidFill>
                  <a:schemeClr val="accent3">
                    <a:lumMod val="75000"/>
                  </a:schemeClr>
                </a:solidFill>
              </a:rPr>
              <a:t> install</a:t>
            </a:r>
          </a:p>
          <a:p>
            <a:endParaRPr lang="en-US" sz="2400" dirty="0"/>
          </a:p>
          <a:p>
            <a:r>
              <a:rPr lang="en-US" sz="2400" dirty="0"/>
              <a:t>docker run  --volume=C:\source\</a:t>
            </a:r>
            <a:r>
              <a:rPr lang="en-US" sz="2400" dirty="0" err="1"/>
              <a:t>mobx</a:t>
            </a:r>
            <a:r>
              <a:rPr lang="en-US" sz="2400" dirty="0"/>
              <a:t>-react-</a:t>
            </a:r>
            <a:r>
              <a:rPr lang="en-US" sz="2400" dirty="0" err="1"/>
              <a:t>todomvc</a:t>
            </a:r>
            <a:r>
              <a:rPr lang="en-US" sz="2400" dirty="0"/>
              <a:t>:/app –w=/app </a:t>
            </a:r>
            <a:r>
              <a:rPr lang="en-US" sz="2400" dirty="0">
                <a:solidFill>
                  <a:schemeClr val="accent5"/>
                </a:solidFill>
              </a:rPr>
              <a:t>node</a:t>
            </a:r>
            <a:r>
              <a:rPr lang="en-US" sz="24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3">
                    <a:lumMod val="75000"/>
                  </a:schemeClr>
                </a:solidFill>
              </a:rPr>
              <a:t>npm</a:t>
            </a:r>
            <a:r>
              <a:rPr lang="en-US" sz="2400" dirty="0">
                <a:solidFill>
                  <a:schemeClr val="accent3">
                    <a:lumMod val="75000"/>
                  </a:schemeClr>
                </a:solidFill>
              </a:rPr>
              <a:t> start</a:t>
            </a:r>
          </a:p>
          <a:p>
            <a:endParaRPr lang="en-US" sz="2400" dirty="0"/>
          </a:p>
          <a:p>
            <a:r>
              <a:rPr lang="en-US" sz="2400" dirty="0"/>
              <a:t>Open localhost:3000 – Fail!</a:t>
            </a:r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90CE6B8-253E-4ED5-A2CE-3D78DD9EE34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13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36CF85-2162-494A-8067-F4E443962F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heck running contain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B72B01-AD95-4112-821E-C818CDFCBAA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3570208"/>
          </a:xfrm>
        </p:spPr>
        <p:txBody>
          <a:bodyPr/>
          <a:lstStyle/>
          <a:p>
            <a:endParaRPr lang="en-US" sz="4000" dirty="0"/>
          </a:p>
          <a:p>
            <a:r>
              <a:rPr lang="en-US" sz="4000" dirty="0"/>
              <a:t>docker </a:t>
            </a:r>
            <a:r>
              <a:rPr lang="en-US" sz="4000" dirty="0" err="1"/>
              <a:t>ps</a:t>
            </a:r>
            <a:endParaRPr lang="en-US" sz="4000" dirty="0"/>
          </a:p>
          <a:p>
            <a:endParaRPr lang="en-US" sz="4000" dirty="0"/>
          </a:p>
          <a:p>
            <a:r>
              <a:rPr lang="en-US" sz="4000" dirty="0"/>
              <a:t>docker stop &lt;id&gt;</a:t>
            </a:r>
          </a:p>
          <a:p>
            <a:endParaRPr lang="en-US" sz="40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890675B-F58B-45C9-A229-40CD28D0822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476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E29949-51DE-404B-9201-4D88CC1812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Exposing Ports from the Sandbo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B016A-E359-42F4-8AF5-BB88D201D10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1415772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Docker run –p 3000:3000 --volume=C:\source\</a:t>
            </a:r>
            <a:r>
              <a:rPr lang="en-US" sz="2000" dirty="0" err="1"/>
              <a:t>mobx</a:t>
            </a:r>
            <a:r>
              <a:rPr lang="en-US" sz="2000" dirty="0"/>
              <a:t>-react-</a:t>
            </a:r>
            <a:r>
              <a:rPr lang="en-US" sz="2000" dirty="0" err="1"/>
              <a:t>todomvc</a:t>
            </a:r>
            <a:r>
              <a:rPr lang="en-US" sz="2000" dirty="0"/>
              <a:t>:/app –w=/app </a:t>
            </a:r>
            <a:r>
              <a:rPr lang="en-US" sz="2000" dirty="0">
                <a:solidFill>
                  <a:schemeClr val="accent5"/>
                </a:solidFill>
              </a:rPr>
              <a:t>node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accent3">
                    <a:lumMod val="75000"/>
                  </a:schemeClr>
                </a:solidFill>
              </a:rPr>
              <a:t>npm</a:t>
            </a:r>
            <a:r>
              <a:rPr lang="en-US" sz="2000" dirty="0">
                <a:solidFill>
                  <a:schemeClr val="accent3">
                    <a:lumMod val="75000"/>
                  </a:schemeClr>
                </a:solidFill>
              </a:rPr>
              <a:t> start</a:t>
            </a:r>
          </a:p>
          <a:p>
            <a:endParaRPr lang="en-US" sz="2000" dirty="0"/>
          </a:p>
          <a:p>
            <a:r>
              <a:rPr lang="en-US" sz="2000" dirty="0"/>
              <a:t>Open </a:t>
            </a:r>
            <a:r>
              <a:rPr lang="en-US" sz="2000" dirty="0">
                <a:hlinkClick r:id="rId2"/>
              </a:rPr>
              <a:t>http://localhost:3000/#/</a:t>
            </a:r>
            <a:r>
              <a:rPr lang="en-US" sz="2000" dirty="0"/>
              <a:t>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C703BB9-B34A-41CE-900F-97BFA318695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 descr="Image result for great success">
            <a:extLst>
              <a:ext uri="{FF2B5EF4-FFF2-40B4-BE49-F238E27FC236}">
                <a16:creationId xmlns:a16="http://schemas.microsoft.com/office/drawing/2014/main" id="{62F257BE-DA4A-4DF6-8F9A-91946B183D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2330173"/>
            <a:ext cx="4400550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424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13EFE5-BE23-4272-939E-03BBC223F7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w about a  database to store my TO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3F6B4B-C50A-424D-B056-C812C9F925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837152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Multiple Docker containers in a set?</a:t>
            </a:r>
          </a:p>
          <a:p>
            <a:r>
              <a:rPr lang="en-US" dirty="0"/>
              <a:t>…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521C4B6-53A4-4C0A-B63A-71EC9078FD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3987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E23CCA-2F72-4E59-B748-5E4FCE6B42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ocker Compo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F2F1CD-5E60-4E96-A1F2-21E9BE3FD84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1132618"/>
          </a:xfrm>
        </p:spPr>
        <p:txBody>
          <a:bodyPr/>
          <a:lstStyle/>
          <a:p>
            <a:r>
              <a:rPr lang="en-US" dirty="0"/>
              <a:t>YAML based templating system for container creation and orchestration</a:t>
            </a:r>
          </a:p>
          <a:p>
            <a:endParaRPr lang="en-US" dirty="0"/>
          </a:p>
          <a:p>
            <a:r>
              <a:rPr lang="en-US" dirty="0"/>
              <a:t>What we just did on the command line we declare in </a:t>
            </a:r>
            <a:r>
              <a:rPr lang="en-US" dirty="0" err="1"/>
              <a:t>yaml</a:t>
            </a:r>
            <a:r>
              <a:rPr lang="en-US" dirty="0"/>
              <a:t> instead</a:t>
            </a:r>
          </a:p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A34CDE-D163-43A9-8E8D-87C4D7C3E4E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 descr="Image result for docker compose">
            <a:extLst>
              <a:ext uri="{FF2B5EF4-FFF2-40B4-BE49-F238E27FC236}">
                <a16:creationId xmlns:a16="http://schemas.microsoft.com/office/drawing/2014/main" id="{19688051-4748-4E02-A7A2-2137FDE987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293" y="2289844"/>
            <a:ext cx="4200477" cy="3496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docker compose yml">
            <a:extLst>
              <a:ext uri="{FF2B5EF4-FFF2-40B4-BE49-F238E27FC236}">
                <a16:creationId xmlns:a16="http://schemas.microsoft.com/office/drawing/2014/main" id="{66CD11A8-7917-4FE3-BC1F-7657C370E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342" y="2438092"/>
            <a:ext cx="3571875" cy="32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54256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9AB738-B222-49EB-8C25-CAB9035B6D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reate a Docker Compose that includes a Cache Serv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448035-5CDE-4F51-A355-8C6F1B6A5B3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837152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The same options we had with “docker run” but in YAML</a:t>
            </a:r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778365-749E-49EF-816B-871DFA8EDA3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9B4138-EA54-4AFC-9104-FC53665122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1326" y="1141884"/>
            <a:ext cx="6325372" cy="4325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3442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85AA8C-8E53-4541-A067-BA6E0364F6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ternal D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2F073-2921-4004-894B-11992E5BE42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5737747" cy="1871282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Docker allows the containers within a compose to resolve each other using their keyed name form the compose</a:t>
            </a:r>
          </a:p>
          <a:p>
            <a:endParaRPr lang="en-US" dirty="0"/>
          </a:p>
          <a:p>
            <a:r>
              <a:rPr lang="en-US" dirty="0"/>
              <a:t>For example “ping </a:t>
            </a:r>
            <a:r>
              <a:rPr lang="en-US" dirty="0" err="1"/>
              <a:t>nodeapp</a:t>
            </a:r>
            <a:r>
              <a:rPr lang="en-US" dirty="0"/>
              <a:t>” from the </a:t>
            </a:r>
            <a:r>
              <a:rPr lang="en-US" dirty="0" err="1"/>
              <a:t>redis</a:t>
            </a:r>
            <a:r>
              <a:rPr lang="en-US" dirty="0"/>
              <a:t> server where </a:t>
            </a:r>
            <a:r>
              <a:rPr lang="en-US" dirty="0" err="1"/>
              <a:t>nodeapp</a:t>
            </a:r>
            <a:r>
              <a:rPr lang="en-US" dirty="0"/>
              <a:t> is the key in the compose, will resolve this  containers IP internally within the sandbox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B8887E1-2F09-4F7B-88FD-53C470AF087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AA25E6-092F-4B66-B090-2DB40CE6F1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7699" y="1141820"/>
            <a:ext cx="4924425" cy="222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2474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96D25A-A593-4DD4-BCCB-95D253C4B4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Dockerfi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D6A9C-558A-4E09-BA74-24025CA0574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1428083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Docker files create a distributable docker image</a:t>
            </a:r>
          </a:p>
          <a:p>
            <a:endParaRPr lang="en-US" dirty="0"/>
          </a:p>
          <a:p>
            <a:r>
              <a:rPr lang="en-US" dirty="0"/>
              <a:t>Chunking system for easy distribution</a:t>
            </a:r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655EEC-739B-46E7-928D-DEF5E1558AF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1A9AFE-FAD2-4A36-BA7A-A53F287AEB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3089" y="914401"/>
            <a:ext cx="4790692" cy="184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1094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F479EB-B56C-4341-A803-9ED3775956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ocker Image Laye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13F8C66-79C2-43BA-AA0E-4910DDF08B8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539005-FF72-4D39-B6B4-0B4B00931E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293" y="1808666"/>
            <a:ext cx="5430707" cy="32406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0C6FB6-885D-485C-81C9-D828B19AD6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5254" y="710743"/>
            <a:ext cx="5038725" cy="5000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4770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F0229D-C26E-471B-BB1E-D983F824F2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reate docker fi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AD75EE-1114-4BCF-856C-97A53364C23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4308872"/>
          </a:xfrm>
        </p:spPr>
        <p:txBody>
          <a:bodyPr/>
          <a:lstStyle/>
          <a:p>
            <a:endParaRPr lang="en-US" sz="4000" dirty="0"/>
          </a:p>
          <a:p>
            <a:r>
              <a:rPr lang="en-US" sz="4000" dirty="0"/>
              <a:t>docker build . –t </a:t>
            </a:r>
            <a:r>
              <a:rPr lang="en-US" sz="4000" dirty="0" err="1"/>
              <a:t>mytodoapp</a:t>
            </a:r>
            <a:endParaRPr lang="en-US" sz="4000" dirty="0"/>
          </a:p>
          <a:p>
            <a:endParaRPr lang="en-US" sz="4000" dirty="0"/>
          </a:p>
          <a:p>
            <a:r>
              <a:rPr lang="en-US" sz="4000" dirty="0"/>
              <a:t>docker run </a:t>
            </a:r>
            <a:r>
              <a:rPr lang="en-US" sz="4000" dirty="0" err="1">
                <a:solidFill>
                  <a:schemeClr val="accent5"/>
                </a:solidFill>
              </a:rPr>
              <a:t>mytodoapp</a:t>
            </a:r>
            <a:endParaRPr lang="en-US" sz="4000" dirty="0">
              <a:solidFill>
                <a:schemeClr val="accent5"/>
              </a:solidFill>
            </a:endParaRPr>
          </a:p>
          <a:p>
            <a:endParaRPr lang="en-US" sz="4000" dirty="0"/>
          </a:p>
          <a:p>
            <a:r>
              <a:rPr lang="en-US" sz="4000" dirty="0"/>
              <a:t>docker history </a:t>
            </a:r>
            <a:r>
              <a:rPr lang="en-US" sz="4000" dirty="0" err="1"/>
              <a:t>mytodoapp</a:t>
            </a:r>
            <a:endParaRPr lang="en-US" sz="40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5212A8-3BAE-4A74-B671-7E4992BD123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80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D0EBA90-4EF0-488D-9CB4-B1BF5E437D81}"/>
              </a:ext>
            </a:extLst>
          </p:cNvPr>
          <p:cNvSpPr/>
          <p:nvPr/>
        </p:nvSpPr>
        <p:spPr>
          <a:xfrm>
            <a:off x="4037611" y="5873578"/>
            <a:ext cx="4290844" cy="9844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CC57C4E-9036-4980-B3AE-53C1CB053F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0154" y="1738185"/>
            <a:ext cx="3854237" cy="3575222"/>
          </a:xfrm>
          <a:solidFill>
            <a:schemeClr val="bg1"/>
          </a:solidFill>
        </p:spPr>
        <p:txBody>
          <a:bodyPr>
            <a:normAutofit lnSpcReduction="10000"/>
          </a:bodyPr>
          <a:lstStyle/>
          <a:p>
            <a:pPr marL="0" lvl="0" indent="0">
              <a:spcBef>
                <a:spcPts val="600"/>
              </a:spcBef>
              <a:buNone/>
            </a:pPr>
            <a:r>
              <a:rPr lang="en-US" sz="1600" b="1" dirty="0">
                <a:latin typeface="Titillium Web"/>
                <a:ea typeface="Titillium Web"/>
                <a:cs typeface="Titillium Web"/>
                <a:sym typeface="Titillium Web"/>
              </a:rPr>
              <a:t>I am Joel Dickson</a:t>
            </a:r>
          </a:p>
          <a:p>
            <a:pPr marL="76200" indent="0">
              <a:buNone/>
            </a:pPr>
            <a:r>
              <a:rPr lang="en-US" sz="1600" dirty="0"/>
              <a:t>Development Manager at Agoda</a:t>
            </a:r>
          </a:p>
          <a:p>
            <a:pPr marL="76200" indent="0">
              <a:buNone/>
            </a:pPr>
            <a:r>
              <a:rPr lang="en-US" sz="1600" dirty="0"/>
              <a:t>Open Source Contributor (</a:t>
            </a:r>
            <a:r>
              <a:rPr lang="en-US" sz="1600" dirty="0" err="1"/>
              <a:t>NUnit</a:t>
            </a:r>
            <a:r>
              <a:rPr lang="en-US" sz="1600" dirty="0"/>
              <a:t>)</a:t>
            </a:r>
          </a:p>
          <a:p>
            <a:pPr marL="76200" indent="0">
              <a:buNone/>
            </a:pPr>
            <a:r>
              <a:rPr lang="en-US" sz="1600" dirty="0"/>
              <a:t>Coming to Thailand for 10 years for business</a:t>
            </a:r>
          </a:p>
          <a:p>
            <a:pPr marL="76200" indent="0">
              <a:buNone/>
            </a:pPr>
            <a:r>
              <a:rPr lang="en-US" sz="1600" dirty="0"/>
              <a:t>Working at Agoda for 3 years</a:t>
            </a:r>
          </a:p>
          <a:p>
            <a:pPr marL="76200" indent="0">
              <a:buNone/>
            </a:pPr>
            <a:r>
              <a:rPr lang="en-US" sz="1600" dirty="0"/>
              <a:t>I live in Bangkok</a:t>
            </a:r>
          </a:p>
          <a:p>
            <a:pPr marL="76200" indent="0">
              <a:buNone/>
            </a:pPr>
            <a:r>
              <a:rPr lang="en-US" sz="1600" dirty="0"/>
              <a:t>I like Beer and Sport</a:t>
            </a:r>
          </a:p>
          <a:p>
            <a:pPr marL="0" lvl="0" indent="0">
              <a:spcBef>
                <a:spcPts val="600"/>
              </a:spcBef>
              <a:buNone/>
            </a:pPr>
            <a:r>
              <a:rPr lang="en-US" sz="1600" b="1" dirty="0">
                <a:latin typeface="Titillium Web"/>
                <a:ea typeface="Titillium Web"/>
                <a:cs typeface="Titillium Web"/>
                <a:sym typeface="Titillium Web"/>
              </a:rPr>
              <a:t>Originally From </a:t>
            </a:r>
          </a:p>
          <a:p>
            <a:pPr marL="0" lvl="0" indent="0">
              <a:spcBef>
                <a:spcPts val="600"/>
              </a:spcBef>
              <a:buNone/>
            </a:pPr>
            <a:r>
              <a:rPr lang="en-US" sz="1600" b="1" dirty="0">
                <a:latin typeface="Titillium Web"/>
                <a:sym typeface="Titillium Web"/>
              </a:rPr>
              <a:t>Cairns, Queensland, Australia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600" b="1" dirty="0">
                <a:latin typeface="Titillium Web"/>
                <a:sym typeface="Titillium Web"/>
              </a:rPr>
              <a:t>2,400 km North of Sydney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600" b="1" dirty="0">
                <a:latin typeface="Titillium Web"/>
                <a:sym typeface="Titillium Web"/>
              </a:rPr>
              <a:t>(26 hour drive in car)</a:t>
            </a:r>
          </a:p>
          <a:p>
            <a:pPr marL="0" lvl="0" indent="0">
              <a:spcBef>
                <a:spcPts val="600"/>
              </a:spcBef>
              <a:buNone/>
            </a:pPr>
            <a:endParaRPr lang="en-US" sz="1600" b="1" dirty="0">
              <a:latin typeface="Titillium Web"/>
              <a:sym typeface="Titillium Web"/>
            </a:endParaRPr>
          </a:p>
          <a:p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558390-A209-450F-A2D2-1443E06785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403761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A246E2-0217-40A3-9B03-055BAC2EEC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8455" y="-1"/>
            <a:ext cx="3863546" cy="686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4615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A6AC8E-51CF-42B8-9187-CE1824EA99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View history of docker image chuc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9FCF8E-9167-49BA-AF3A-90897C7CEBD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246221"/>
          </a:xfrm>
        </p:spPr>
        <p:txBody>
          <a:bodyPr/>
          <a:lstStyle/>
          <a:p>
            <a:r>
              <a:rPr lang="en-US" dirty="0"/>
              <a:t>The first 4 are from our docker file, the rest are the history from the image “node” and how it was buil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A93BCA-0406-4953-B2E2-6886F11BC80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D9FC67-7613-44D1-B2AD-2D1EDD4DC1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557" y="1716046"/>
            <a:ext cx="11403355" cy="370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495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297467-7B00-450E-985F-D3252F51FB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ublishing your image to share with oth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B68A80-F990-43AD-ACAF-7C0F3A13FA7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2831544"/>
          </a:xfrm>
        </p:spPr>
        <p:txBody>
          <a:bodyPr/>
          <a:lstStyle/>
          <a:p>
            <a:endParaRPr lang="en-US" sz="4000" dirty="0"/>
          </a:p>
          <a:p>
            <a:r>
              <a:rPr lang="en-US" sz="4000" dirty="0"/>
              <a:t>docker push ? </a:t>
            </a:r>
          </a:p>
          <a:p>
            <a:endParaRPr lang="en-US" sz="4000" dirty="0"/>
          </a:p>
          <a:p>
            <a:r>
              <a:rPr lang="en-US" sz="4000" dirty="0"/>
              <a:t>Not today …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1EE7EE9-7FDB-4480-A51C-CE3366F6198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9316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FB98B1-ADF7-4F96-9C05-6A7CE00D27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hat is a Docker Registry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EB0AFD-6433-41EF-9943-E4B4232F8C0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2019014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Stores and distributes images</a:t>
            </a:r>
          </a:p>
          <a:p>
            <a:endParaRPr lang="en-US" dirty="0"/>
          </a:p>
          <a:p>
            <a:r>
              <a:rPr lang="en-US" dirty="0"/>
              <a:t>A running image is known as a “container”</a:t>
            </a:r>
          </a:p>
          <a:p>
            <a:endParaRPr lang="en-US" dirty="0"/>
          </a:p>
          <a:p>
            <a:r>
              <a:rPr lang="en-US" dirty="0"/>
              <a:t>Uses hash chunking system for storage and distribution </a:t>
            </a:r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C90E6F-C636-4D54-98C1-C1E1264AA23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5AB728A-7DBD-4875-889F-A99AF6D6FF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710743"/>
            <a:ext cx="5610225" cy="485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5725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5F3588-58F5-4FBB-A648-1054DA23E3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hange docker compose - Use the Docker fi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FAF251-D042-4413-83AC-8BF2D55783D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837152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Remove params defined in </a:t>
            </a:r>
            <a:r>
              <a:rPr lang="en-US" dirty="0" err="1"/>
              <a:t>Dockerfile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3A7517-71C3-48F5-BF80-7F4CC9586AF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DC659F-5AF0-49E4-8517-82D72A449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5115" y="1030009"/>
            <a:ext cx="4193057" cy="3397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554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34EF9-AB30-48CE-AA36-16AF5E2344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hat about NPM Instal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7F8548-1B15-4D87-A5B8-0459BEDB530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1428083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Docker Compose can also be used to automate builds</a:t>
            </a:r>
          </a:p>
          <a:p>
            <a:endParaRPr lang="en-US" dirty="0"/>
          </a:p>
          <a:p>
            <a:r>
              <a:rPr lang="en-US" dirty="0"/>
              <a:t>Known as Multi-Staged </a:t>
            </a:r>
            <a:r>
              <a:rPr lang="en-US" dirty="0" err="1"/>
              <a:t>Dockerfile</a:t>
            </a:r>
            <a:endParaRPr lang="en-US" dirty="0"/>
          </a:p>
          <a:p>
            <a:endParaRPr lang="en-US" dirty="0"/>
          </a:p>
        </p:txBody>
      </p:sp>
      <p:pic>
        <p:nvPicPr>
          <p:cNvPr id="2050" name="Picture 2" descr="Related image">
            <a:extLst>
              <a:ext uri="{FF2B5EF4-FFF2-40B4-BE49-F238E27FC236}">
                <a16:creationId xmlns:a16="http://schemas.microsoft.com/office/drawing/2014/main" id="{6768082C-0DED-4837-A31D-6BD8E0D68A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494" y="2906541"/>
            <a:ext cx="8191500" cy="2428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C83368E-B6F5-48E0-8651-F637CEF07BA6}"/>
              </a:ext>
            </a:extLst>
          </p:cNvPr>
          <p:cNvSpPr txBox="1"/>
          <p:nvPr/>
        </p:nvSpPr>
        <p:spPr>
          <a:xfrm>
            <a:off x="3484605" y="5335416"/>
            <a:ext cx="15734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JDK</a:t>
            </a:r>
          </a:p>
          <a:p>
            <a:r>
              <a:rPr lang="en-US" dirty="0"/>
              <a:t>NET SDK</a:t>
            </a:r>
          </a:p>
          <a:p>
            <a:r>
              <a:rPr lang="en-US" dirty="0" err="1"/>
              <a:t>etc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ABB975-375A-4795-9D99-E47D380193B3}"/>
              </a:ext>
            </a:extLst>
          </p:cNvPr>
          <p:cNvSpPr txBox="1"/>
          <p:nvPr/>
        </p:nvSpPr>
        <p:spPr>
          <a:xfrm>
            <a:off x="6707143" y="5335416"/>
            <a:ext cx="15734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JRE</a:t>
            </a:r>
          </a:p>
          <a:p>
            <a:r>
              <a:rPr lang="en-US" dirty="0"/>
              <a:t>NET Runtime</a:t>
            </a:r>
          </a:p>
          <a:p>
            <a:r>
              <a:rPr lang="en-US" dirty="0" err="1"/>
              <a:t>et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9914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1BF0E0-0031-4994-BFC7-F300A97408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reate a Multi stage </a:t>
            </a:r>
            <a:r>
              <a:rPr lang="en-US" dirty="0" err="1"/>
              <a:t>Dockerfi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B00931-FB51-49F5-B4C4-5606152A668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2019014"/>
          </a:xfrm>
        </p:spPr>
        <p:txBody>
          <a:bodyPr/>
          <a:lstStyle/>
          <a:p>
            <a:r>
              <a:rPr lang="en-US" dirty="0"/>
              <a:t>Builder image has full SDK</a:t>
            </a:r>
          </a:p>
          <a:p>
            <a:endParaRPr lang="en-US" dirty="0"/>
          </a:p>
          <a:p>
            <a:r>
              <a:rPr lang="en-US" dirty="0"/>
              <a:t>Base image uses lighter image (doesn’t include SDK) for distribution</a:t>
            </a:r>
          </a:p>
          <a:p>
            <a:endParaRPr lang="en-US" dirty="0"/>
          </a:p>
          <a:p>
            <a:r>
              <a:rPr lang="en-US" dirty="0"/>
              <a:t>Final image is based on the last FROM statement</a:t>
            </a:r>
          </a:p>
          <a:p>
            <a:endParaRPr lang="en-US" dirty="0"/>
          </a:p>
          <a:p>
            <a:r>
              <a:rPr lang="en-US" dirty="0"/>
              <a:t>Docker build . –t </a:t>
            </a:r>
            <a:r>
              <a:rPr lang="en-US" dirty="0" err="1"/>
              <a:t>mytodoapp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5C44DE-1DDD-4D8A-97DD-272B08A7B3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BEA8DC-2051-40E1-A5B7-100A6EC69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7176" y="914401"/>
            <a:ext cx="4692085" cy="322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5977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1ACA6C-E74E-44BD-BC3A-792F5BF31A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dd Build declaration to docker-compo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E7C4B7-5193-41D2-BDAA-94F652F1502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5564752" cy="4690652"/>
          </a:xfrm>
        </p:spPr>
        <p:txBody>
          <a:bodyPr>
            <a:normAutofit/>
          </a:bodyPr>
          <a:lstStyle/>
          <a:p>
            <a:endParaRPr lang="en-US" dirty="0"/>
          </a:p>
          <a:p>
            <a:r>
              <a:rPr lang="en-US" b="1" dirty="0"/>
              <a:t>docker-compose up –build</a:t>
            </a:r>
          </a:p>
          <a:p>
            <a:endParaRPr lang="en-US" dirty="0"/>
          </a:p>
          <a:p>
            <a:r>
              <a:rPr lang="en-US" dirty="0"/>
              <a:t>Compose up command now triggers a build of your software</a:t>
            </a:r>
          </a:p>
          <a:p>
            <a:endParaRPr lang="en-US" dirty="0"/>
          </a:p>
          <a:p>
            <a:r>
              <a:rPr lang="en-US" dirty="0"/>
              <a:t>Multiple projects can be included in a single compose</a:t>
            </a:r>
          </a:p>
          <a:p>
            <a:endParaRPr lang="en-US" dirty="0"/>
          </a:p>
          <a:p>
            <a:r>
              <a:rPr lang="en-US" dirty="0"/>
              <a:t>Example – </a:t>
            </a:r>
            <a:r>
              <a:rPr lang="en-US" dirty="0" err="1"/>
              <a:t>nodejs</a:t>
            </a:r>
            <a:r>
              <a:rPr lang="en-US" dirty="0"/>
              <a:t> react front end, plus Java backend, plus SQL database, </a:t>
            </a:r>
            <a:r>
              <a:rPr lang="en-US" dirty="0" err="1"/>
              <a:t>etc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C9EF82-65DD-4F41-B17D-93AF9AA0454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FF7F03-1250-4B4A-BB59-51C280083C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3778" y="977128"/>
            <a:ext cx="4749244" cy="377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0659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57A0B1-B175-4BB4-BDD0-072328AC46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formance of </a:t>
            </a:r>
            <a:r>
              <a:rPr lang="en-US" dirty="0" err="1"/>
              <a:t>Dockerfiles</a:t>
            </a:r>
            <a:r>
              <a:rPr lang="en-US" dirty="0"/>
              <a:t> – Incremental Build Ti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69A317-B6D0-4D65-B558-5704E88DCED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1428083"/>
          </a:xfrm>
        </p:spPr>
        <p:txBody>
          <a:bodyPr/>
          <a:lstStyle/>
          <a:p>
            <a:r>
              <a:rPr lang="en-US" dirty="0"/>
              <a:t>RUN TWICE: docker build . -t </a:t>
            </a:r>
            <a:r>
              <a:rPr lang="en-US" dirty="0" err="1"/>
              <a:t>mydockerimage</a:t>
            </a:r>
            <a:endParaRPr lang="en-US" dirty="0"/>
          </a:p>
          <a:p>
            <a:endParaRPr lang="en-US" dirty="0"/>
          </a:p>
          <a:p>
            <a:r>
              <a:rPr lang="en-US" dirty="0"/>
              <a:t>Add white space to </a:t>
            </a:r>
            <a:r>
              <a:rPr lang="en-US" dirty="0" err="1"/>
              <a:t>js</a:t>
            </a:r>
            <a:r>
              <a:rPr lang="en-US" dirty="0"/>
              <a:t> file</a:t>
            </a:r>
          </a:p>
          <a:p>
            <a:endParaRPr lang="en-US" dirty="0"/>
          </a:p>
          <a:p>
            <a:r>
              <a:rPr lang="en-US" dirty="0"/>
              <a:t>RUN AGAI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CE3A9A-3ED8-4E4D-875A-29A66BB52F7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381CC8-B25A-4626-AB45-CB733971F3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232" y="831764"/>
            <a:ext cx="3495675" cy="16192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DE47C8-B3A4-4FD5-B56B-85844B789E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947" y="2722646"/>
            <a:ext cx="4047988" cy="3044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6239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11F21D-E970-4C51-A58F-FDF9A06969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formance of </a:t>
            </a:r>
            <a:r>
              <a:rPr lang="en-US" dirty="0" err="1"/>
              <a:t>Dockerfiles</a:t>
            </a:r>
            <a:r>
              <a:rPr lang="en-US" dirty="0"/>
              <a:t> – Incremental Build Ti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16388C-CCB7-4F33-A2BE-EB3244D61A4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5790778" cy="3742563"/>
          </a:xfrm>
        </p:spPr>
        <p:txBody>
          <a:bodyPr/>
          <a:lstStyle/>
          <a:p>
            <a:r>
              <a:rPr lang="en-US" dirty="0"/>
              <a:t>Swap order</a:t>
            </a:r>
          </a:p>
          <a:p>
            <a:endParaRPr lang="en-US" dirty="0"/>
          </a:p>
          <a:p>
            <a:r>
              <a:rPr lang="en-US" dirty="0"/>
              <a:t>Run once: docker build . -t </a:t>
            </a:r>
            <a:r>
              <a:rPr lang="en-US" dirty="0" err="1"/>
              <a:t>mydockerimage</a:t>
            </a:r>
            <a:endParaRPr lang="en-US" dirty="0"/>
          </a:p>
          <a:p>
            <a:endParaRPr lang="en-US" dirty="0"/>
          </a:p>
          <a:p>
            <a:r>
              <a:rPr lang="en-US" dirty="0"/>
              <a:t>Change </a:t>
            </a:r>
            <a:r>
              <a:rPr lang="en-US" dirty="0" err="1"/>
              <a:t>js</a:t>
            </a:r>
            <a:r>
              <a:rPr lang="en-US" dirty="0"/>
              <a:t> file</a:t>
            </a:r>
          </a:p>
          <a:p>
            <a:endParaRPr lang="en-US" dirty="0"/>
          </a:p>
          <a:p>
            <a:r>
              <a:rPr lang="en-US" dirty="0"/>
              <a:t>Run again: docker build . -t </a:t>
            </a:r>
            <a:r>
              <a:rPr lang="en-US" dirty="0" err="1"/>
              <a:t>mydockerimage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apt-get install is now cached and wont rerun when you change the </a:t>
            </a:r>
            <a:r>
              <a:rPr lang="en-US" dirty="0" err="1"/>
              <a:t>javascript</a:t>
            </a:r>
            <a:r>
              <a:rPr lang="en-US" dirty="0"/>
              <a:t> fil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562A64-A6B1-441A-B3BE-DD60CC84B4C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8D9282-B090-4543-ABD2-BCC5614921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0750" y="793276"/>
            <a:ext cx="3752850" cy="17621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CA37A0-0F1A-464B-9D6D-BBAF2FB95D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611009"/>
            <a:ext cx="6001356" cy="4246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3416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D93299D-3951-4CB0-A9A6-70A1A07555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formance of </a:t>
            </a:r>
            <a:r>
              <a:rPr lang="en-US" dirty="0" err="1"/>
              <a:t>Dockerfiles</a:t>
            </a:r>
            <a:r>
              <a:rPr lang="en-US" dirty="0"/>
              <a:t> – Image siz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36006F-9259-4876-8326-FAF427DC4F4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1723549"/>
          </a:xfrm>
        </p:spPr>
        <p:txBody>
          <a:bodyPr/>
          <a:lstStyle/>
          <a:p>
            <a:r>
              <a:rPr lang="en-US" dirty="0"/>
              <a:t>Remove unnecessary dependencies</a:t>
            </a:r>
          </a:p>
          <a:p>
            <a:r>
              <a:rPr lang="en-US" dirty="0"/>
              <a:t>	e.g. </a:t>
            </a:r>
            <a:r>
              <a:rPr lang="en-US" b="1" dirty="0"/>
              <a:t>vim</a:t>
            </a:r>
            <a:r>
              <a:rPr lang="en-US" dirty="0"/>
              <a:t> and </a:t>
            </a:r>
            <a:r>
              <a:rPr lang="en-US" b="1" dirty="0" err="1"/>
              <a:t>ssh</a:t>
            </a:r>
            <a:r>
              <a:rPr lang="en-US" dirty="0"/>
              <a:t> should </a:t>
            </a:r>
            <a:r>
              <a:rPr lang="en-US" b="1" dirty="0"/>
              <a:t>NOT</a:t>
            </a:r>
            <a:r>
              <a:rPr lang="en-US" dirty="0"/>
              <a:t> be on production container images</a:t>
            </a:r>
          </a:p>
          <a:p>
            <a:endParaRPr lang="en-US" dirty="0"/>
          </a:p>
          <a:p>
            <a:r>
              <a:rPr lang="en-US" dirty="0"/>
              <a:t>Remove Package manager cache</a:t>
            </a:r>
          </a:p>
          <a:p>
            <a:r>
              <a:rPr lang="en-US" dirty="0"/>
              <a:t>	</a:t>
            </a:r>
            <a:r>
              <a:rPr lang="en-US" b="1" dirty="0"/>
              <a:t>RUN rm –rf /var/lib/apt/lists/*</a:t>
            </a:r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0CA0DE-E4D8-47B4-A37F-2265B0F4C6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330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0AAC23-37AA-478A-838A-3F221908F7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hat is Docke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282B5-F06A-46BD-B490-B07AB75F0D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1746423"/>
            <a:ext cx="5886028" cy="3945923"/>
          </a:xfrm>
        </p:spPr>
        <p:txBody>
          <a:bodyPr>
            <a:normAutofit/>
          </a:bodyPr>
          <a:lstStyle/>
          <a:p>
            <a:r>
              <a:rPr lang="en-US" dirty="0"/>
              <a:t>Package Software into Standardized Units for Development, Shipment and Deployment</a:t>
            </a:r>
          </a:p>
          <a:p>
            <a:endParaRPr lang="en-US" dirty="0"/>
          </a:p>
          <a:p>
            <a:r>
              <a:rPr lang="en-US" dirty="0"/>
              <a:t>A container is a standard unit of software that packages up code and all its dependencies so the application runs quickly and reliably from one computing environment to another.</a:t>
            </a:r>
          </a:p>
          <a:p>
            <a:endParaRPr lang="en-US" dirty="0"/>
          </a:p>
          <a:p>
            <a:r>
              <a:rPr lang="en-US" dirty="0"/>
              <a:t>Example “My Java app + JRE” is contained within a container imag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D990DED-709D-4DBA-B657-BF92F34EF59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 descr="https://www.docker.com/sites/default/files/d8/styles/large/public/2018-11/container-what-is-container.png?itok=vle7kjDj">
            <a:extLst>
              <a:ext uri="{FF2B5EF4-FFF2-40B4-BE49-F238E27FC236}">
                <a16:creationId xmlns:a16="http://schemas.microsoft.com/office/drawing/2014/main" id="{15025FF5-6AB5-43D7-9BC9-F13E35307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9655" y="495299"/>
            <a:ext cx="6141001" cy="5317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05563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DF1889-4401-4FD3-95A5-5A0745072F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intainability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7FBC85-712F-4942-B77E-BA52E11E3C5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59AEFD-705C-4812-B866-6D26443D6D1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6536817" cy="3397853"/>
          </a:xfrm>
        </p:spPr>
        <p:txBody>
          <a:bodyPr/>
          <a:lstStyle/>
          <a:p>
            <a:r>
              <a:rPr lang="en-US" dirty="0"/>
              <a:t>Use official images where possible, they will have installation steps done and best practices applie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o not use the latest tag. Because based on the time you build your image behavior will change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660EF-0A38-44F2-AEAA-2B2004C9C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8694" y="790242"/>
            <a:ext cx="4781550" cy="1676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8287CE-2B7F-4568-A290-779BB69BD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2562" y="3503507"/>
            <a:ext cx="3476625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992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EBBED1-0F6A-4230-972B-E562291D8E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intain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12B35F-91BD-4183-A542-52A9F9223B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1428083"/>
          </a:xfrm>
        </p:spPr>
        <p:txBody>
          <a:bodyPr/>
          <a:lstStyle/>
          <a:p>
            <a:r>
              <a:rPr lang="en-US" dirty="0"/>
              <a:t>Look for Minimal Image flavors</a:t>
            </a:r>
          </a:p>
          <a:p>
            <a:endParaRPr lang="en-US" dirty="0"/>
          </a:p>
          <a:p>
            <a:r>
              <a:rPr lang="en-US" dirty="0"/>
              <a:t>Examples: Alpine, stretch, slim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B67568-0043-43DC-B47F-5980C812F9D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45ABFF-2DF5-4E75-940F-8EB53FB03B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5979" y="914401"/>
            <a:ext cx="3333750" cy="120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6521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2E3CE0-2C78-461A-B0D3-EBE892B440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ilding in Docker (Multi stag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E6E0CE-F27B-4A35-8B5D-CE1CACA9125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0"/>
            <a:ext cx="6306158" cy="4679091"/>
          </a:xfrm>
        </p:spPr>
        <p:txBody>
          <a:bodyPr/>
          <a:lstStyle/>
          <a:p>
            <a:r>
              <a:rPr lang="en-US" dirty="0"/>
              <a:t>Fetch Dependencies in a separate step (separate RUN and COPY)</a:t>
            </a:r>
          </a:p>
          <a:p>
            <a:r>
              <a:rPr lang="en-US" dirty="0"/>
              <a:t>e.g. </a:t>
            </a:r>
            <a:r>
              <a:rPr lang="en-US" dirty="0" err="1"/>
              <a:t>npm</a:t>
            </a:r>
            <a:r>
              <a:rPr lang="en-US" dirty="0"/>
              <a:t> install, </a:t>
            </a:r>
            <a:r>
              <a:rPr lang="en-US" dirty="0" err="1"/>
              <a:t>etc</a:t>
            </a:r>
            <a:endParaRPr lang="en-US" dirty="0"/>
          </a:p>
          <a:p>
            <a:r>
              <a:rPr lang="en-US" dirty="0"/>
              <a:t>This will separate cache the dependency download work</a:t>
            </a:r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6ACE61-CD96-47BA-A16C-50085701B2C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2710EA-1CA7-426F-8C27-77A1D5EBE6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7556" y="914400"/>
            <a:ext cx="35337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9804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C45C4C9-73EC-486B-8E7C-355BEC71412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 and A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A694E5-6CA0-49FA-9849-496DEEB9BA2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ontact details</a:t>
            </a:r>
          </a:p>
          <a:p>
            <a:r>
              <a:rPr lang="en-US" dirty="0"/>
              <a:t>#</a:t>
            </a:r>
            <a:r>
              <a:rPr lang="en-US" dirty="0" err="1"/>
              <a:t>WeAreAlwaysHir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720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CD8666-7DC5-42DB-858B-5976A260CB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ocker vs Virtualiz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F77BA5-0F63-4E12-8F95-44051E36C52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Unlike VMs, container don’t contain the operating system, this make them more lightweight. And therefore easier to distribute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3B86EB8-B126-47AD-ABEC-BDEAC3ACB90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FBF6583-CAF2-4F00-AF96-95B5509D14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3588" y="2067571"/>
            <a:ext cx="8051245" cy="2965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648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e result">
            <a:extLst>
              <a:ext uri="{FF2B5EF4-FFF2-40B4-BE49-F238E27FC236}">
                <a16:creationId xmlns:a16="http://schemas.microsoft.com/office/drawing/2014/main" id="{C0013F64-1770-4A1E-A398-591A3AC97D0F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3496" y="98854"/>
            <a:ext cx="8385007" cy="5823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7A8BF4-ABB4-4688-BD40-634AAFD6532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306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88B347-649E-4FE9-A938-6E71A70F8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ocker Networking and Container Isolation </a:t>
            </a:r>
          </a:p>
        </p:txBody>
      </p:sp>
      <p:pic>
        <p:nvPicPr>
          <p:cNvPr id="1026" name="Picture 2" descr="Related image">
            <a:extLst>
              <a:ext uri="{FF2B5EF4-FFF2-40B4-BE49-F238E27FC236}">
                <a16:creationId xmlns:a16="http://schemas.microsoft.com/office/drawing/2014/main" id="{0A0CFD24-19CC-40EF-9781-EE4E432DEF8D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41727" y="1186260"/>
            <a:ext cx="7789668" cy="4369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941730-0542-40B6-B3EA-09DC5C606F8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6354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5F9B91C-E9EE-4539-8E00-A873AA47DE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ello World Docker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06B8E6-8123-484C-BE3D-44206B59D90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1354217"/>
          </a:xfrm>
        </p:spPr>
        <p:txBody>
          <a:bodyPr/>
          <a:lstStyle/>
          <a:p>
            <a:endParaRPr lang="en-US" sz="4000"/>
          </a:p>
          <a:p>
            <a:r>
              <a:rPr lang="en-US" sz="4000"/>
              <a:t>docker </a:t>
            </a:r>
            <a:r>
              <a:rPr lang="en-US" sz="4000" dirty="0"/>
              <a:t>run </a:t>
            </a:r>
            <a:r>
              <a:rPr lang="en-US" sz="4000" dirty="0">
                <a:solidFill>
                  <a:schemeClr val="accent5"/>
                </a:solidFill>
              </a:rPr>
              <a:t>hello-world</a:t>
            </a:r>
            <a:r>
              <a:rPr lang="en-US" sz="4000" dirty="0"/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77F668-86E7-4DBB-808F-0B7A3B3FE57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6836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0B0029-FE5D-4F68-92B1-A71BBE0943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Prac</a:t>
            </a:r>
            <a:r>
              <a:rPr lang="en-US" dirty="0"/>
              <a:t> – Start a Contai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F6F866-908F-4701-91BA-68AD6F4E325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3570208"/>
          </a:xfrm>
        </p:spPr>
        <p:txBody>
          <a:bodyPr/>
          <a:lstStyle/>
          <a:p>
            <a:endParaRPr lang="en-US" sz="4000" dirty="0"/>
          </a:p>
          <a:p>
            <a:r>
              <a:rPr lang="en-US" sz="4000" dirty="0"/>
              <a:t>docker run </a:t>
            </a:r>
            <a:r>
              <a:rPr lang="en-US" sz="4000" dirty="0">
                <a:solidFill>
                  <a:schemeClr val="accent5"/>
                </a:solidFill>
              </a:rPr>
              <a:t>node</a:t>
            </a:r>
          </a:p>
          <a:p>
            <a:endParaRPr lang="en-US" sz="4000" dirty="0"/>
          </a:p>
          <a:p>
            <a:r>
              <a:rPr lang="en-US" sz="4000" dirty="0"/>
              <a:t>docker run </a:t>
            </a:r>
            <a:r>
              <a:rPr lang="en-US" sz="4000" dirty="0">
                <a:solidFill>
                  <a:schemeClr val="accent5"/>
                </a:solidFill>
              </a:rPr>
              <a:t>node</a:t>
            </a:r>
            <a:r>
              <a:rPr lang="en-US" sz="4000" dirty="0"/>
              <a:t> </a:t>
            </a:r>
            <a:r>
              <a:rPr lang="en-US" sz="4000" dirty="0" err="1">
                <a:solidFill>
                  <a:schemeClr val="accent3">
                    <a:lumMod val="75000"/>
                  </a:schemeClr>
                </a:solidFill>
              </a:rPr>
              <a:t>npm</a:t>
            </a:r>
            <a:r>
              <a:rPr lang="en-US" sz="4000" dirty="0">
                <a:solidFill>
                  <a:schemeClr val="accent3">
                    <a:lumMod val="75000"/>
                  </a:schemeClr>
                </a:solidFill>
              </a:rPr>
              <a:t> --version</a:t>
            </a:r>
          </a:p>
          <a:p>
            <a:endParaRPr lang="en-US" sz="40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E0C8385-63A7-499B-ADB1-FE0BE9E2BAC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585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BABC59-6D46-45F7-B6ED-E7D861B759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ount a volu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B73B65-0A60-4D80-8644-2D90E41D307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09972" y="914401"/>
            <a:ext cx="11772056" cy="2548390"/>
          </a:xfrm>
        </p:spPr>
        <p:txBody>
          <a:bodyPr/>
          <a:lstStyle/>
          <a:p>
            <a:endParaRPr lang="en-US" sz="3600" dirty="0"/>
          </a:p>
          <a:p>
            <a:r>
              <a:rPr lang="en-US" sz="3600" dirty="0"/>
              <a:t>docker run  --volume=C:\source:/app </a:t>
            </a:r>
            <a:r>
              <a:rPr lang="en-US" sz="3600" dirty="0">
                <a:solidFill>
                  <a:schemeClr val="accent5"/>
                </a:solidFill>
              </a:rPr>
              <a:t>node</a:t>
            </a:r>
            <a:r>
              <a:rPr lang="en-US" sz="3600" dirty="0">
                <a:solidFill>
                  <a:schemeClr val="accent3">
                    <a:lumMod val="75000"/>
                  </a:schemeClr>
                </a:solidFill>
              </a:rPr>
              <a:t> ls /app –al</a:t>
            </a:r>
          </a:p>
          <a:p>
            <a:endParaRPr lang="en-US" sz="3600" dirty="0"/>
          </a:p>
          <a:p>
            <a:r>
              <a:rPr lang="en-US" sz="3600" dirty="0"/>
              <a:t>docker run  --volume=C:\source:/app –w=/app </a:t>
            </a:r>
            <a:r>
              <a:rPr lang="en-US" sz="3600" dirty="0">
                <a:solidFill>
                  <a:schemeClr val="accent5"/>
                </a:solidFill>
              </a:rPr>
              <a:t>node</a:t>
            </a:r>
            <a:r>
              <a:rPr lang="en-US" sz="3600" dirty="0">
                <a:solidFill>
                  <a:schemeClr val="accent3">
                    <a:lumMod val="75000"/>
                  </a:schemeClr>
                </a:solidFill>
              </a:rPr>
              <a:t> ls –a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380992D-ACE3-4590-80BE-8C7AFCCA7D4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god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goda" id="{0B2D2BFF-2544-4001-AAB2-BA09CDA94BC2}" vid="{0E179576-21F1-4346-B86A-DDB8018C2560}"/>
    </a:ext>
  </a:extLst>
</a:theme>
</file>

<file path=ppt/theme/theme2.xml><?xml version="1.0" encoding="utf-8"?>
<a:theme xmlns:a="http://schemas.openxmlformats.org/drawingml/2006/main" name="Agoda Content Page Background">
  <a:themeElements>
    <a:clrScheme name="Custom 1">
      <a:dk1>
        <a:srgbClr val="7F7F7F"/>
      </a:dk1>
      <a:lt1>
        <a:sysClr val="window" lastClr="FFFFFF"/>
      </a:lt1>
      <a:dk2>
        <a:srgbClr val="7F7F7F"/>
      </a:dk2>
      <a:lt2>
        <a:srgbClr val="FFFFFF"/>
      </a:lt2>
      <a:accent1>
        <a:srgbClr val="7F7F7F"/>
      </a:accent1>
      <a:accent2>
        <a:srgbClr val="FF0000"/>
      </a:accent2>
      <a:accent3>
        <a:srgbClr val="1AAC5B"/>
      </a:accent3>
      <a:accent4>
        <a:srgbClr val="9436D4"/>
      </a:accent4>
      <a:accent5>
        <a:srgbClr val="0283FF"/>
      </a:accent5>
      <a:accent6>
        <a:srgbClr val="F79D11"/>
      </a:accent6>
      <a:hlink>
        <a:srgbClr val="0000FF"/>
      </a:hlink>
      <a:folHlink>
        <a:srgbClr val="800080"/>
      </a:folHlink>
    </a:clrScheme>
    <a:fontScheme name="Custom 2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goda Internal_2019 template.pptx  -  Read-Only" id="{3AD53AA8-75E0-4BB4-BC7B-BB7FA63E26ED}" vid="{5264E0C5-121B-422A-B293-70DC7C643BD0}"/>
    </a:ext>
  </a:extLst>
</a:theme>
</file>

<file path=ppt/theme/theme3.xml><?xml version="1.0" encoding="utf-8"?>
<a:theme xmlns:a="http://schemas.openxmlformats.org/drawingml/2006/main" name="1_Agoda Content Page Background">
  <a:themeElements>
    <a:clrScheme name="Custom 1">
      <a:dk1>
        <a:srgbClr val="7F7F7F"/>
      </a:dk1>
      <a:lt1>
        <a:sysClr val="window" lastClr="FFFFFF"/>
      </a:lt1>
      <a:dk2>
        <a:srgbClr val="7F7F7F"/>
      </a:dk2>
      <a:lt2>
        <a:srgbClr val="FFFFFF"/>
      </a:lt2>
      <a:accent1>
        <a:srgbClr val="7F7F7F"/>
      </a:accent1>
      <a:accent2>
        <a:srgbClr val="FF0000"/>
      </a:accent2>
      <a:accent3>
        <a:srgbClr val="1AAC5B"/>
      </a:accent3>
      <a:accent4>
        <a:srgbClr val="9436D4"/>
      </a:accent4>
      <a:accent5>
        <a:srgbClr val="0283FF"/>
      </a:accent5>
      <a:accent6>
        <a:srgbClr val="F79D11"/>
      </a:accent6>
      <a:hlink>
        <a:srgbClr val="0000FF"/>
      </a:hlink>
      <a:folHlink>
        <a:srgbClr val="800080"/>
      </a:folHlink>
    </a:clrScheme>
    <a:fontScheme name="Custom 2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goda Internal_2019 template.pptx  -  Read-Only" id="{3AD53AA8-75E0-4BB4-BC7B-BB7FA63E26ED}" vid="{66514B04-F404-416C-89D4-88780EA866D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C439CA08BBBD448E5F8998516EA8F0" ma:contentTypeVersion="10" ma:contentTypeDescription="Create a new document." ma:contentTypeScope="" ma:versionID="42b5f0108cfbf7525e9012fc0f155443">
  <xsd:schema xmlns:xsd="http://www.w3.org/2001/XMLSchema" xmlns:xs="http://www.w3.org/2001/XMLSchema" xmlns:p="http://schemas.microsoft.com/office/2006/metadata/properties" xmlns:ns2="17d1ee43-8d2c-4fc4-bdc9-5db88f98fdb5" xmlns:ns3="21930214-6366-4c46-8806-6fdc2c93981b" targetNamespace="http://schemas.microsoft.com/office/2006/metadata/properties" ma:root="true" ma:fieldsID="8bda7fccd90c4d25bdc47c11a62f610e" ns2:_="" ns3:_="">
    <xsd:import namespace="17d1ee43-8d2c-4fc4-bdc9-5db88f98fdb5"/>
    <xsd:import namespace="21930214-6366-4c46-8806-6fdc2c9398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d1ee43-8d2c-4fc4-bdc9-5db88f98fd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930214-6366-4c46-8806-6fdc2c9398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349D18F-2582-49F8-B2EE-BC0E563C4E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d1ee43-8d2c-4fc4-bdc9-5db88f98fdb5"/>
    <ds:schemaRef ds:uri="21930214-6366-4c46-8806-6fdc2c9398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4C520A9-1514-44EA-AA11-A9AF3148F4D1}">
  <ds:schemaRefs>
    <ds:schemaRef ds:uri="http://schemas.microsoft.com/office/2006/metadata/properties"/>
    <ds:schemaRef ds:uri="http://schemas.microsoft.com/office/2006/documentManagement/types"/>
    <ds:schemaRef ds:uri="http://purl.org/dc/dcmitype/"/>
    <ds:schemaRef ds:uri="http://www.w3.org/XML/1998/namespace"/>
    <ds:schemaRef ds:uri="17d1ee43-8d2c-4fc4-bdc9-5db88f98fdb5"/>
    <ds:schemaRef ds:uri="http://schemas.microsoft.com/office/infopath/2007/PartnerControls"/>
    <ds:schemaRef ds:uri="http://schemas.openxmlformats.org/package/2006/metadata/core-properties"/>
    <ds:schemaRef ds:uri="21930214-6366-4c46-8806-6fdc2c93981b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A70791CD-9C6E-4969-B1F4-B94F5E3C2EF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goda</Template>
  <TotalTime>1634</TotalTime>
  <Words>822</Words>
  <Application>Microsoft Office PowerPoint</Application>
  <PresentationFormat>Widescreen</PresentationFormat>
  <Paragraphs>172</Paragraphs>
  <Slides>3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Arial</vt:lpstr>
      <vt:lpstr>Calibri</vt:lpstr>
      <vt:lpstr>Calibri Light</vt:lpstr>
      <vt:lpstr>Courier New</vt:lpstr>
      <vt:lpstr>Segoe UI Light</vt:lpstr>
      <vt:lpstr>Segoe UI Semibold</vt:lpstr>
      <vt:lpstr>Titillium Web</vt:lpstr>
      <vt:lpstr>Agoda</vt:lpstr>
      <vt:lpstr>Agoda Content Page Background</vt:lpstr>
      <vt:lpstr>1_Agoda Content Page Background</vt:lpstr>
      <vt:lpstr>think-cell Slide</vt:lpstr>
      <vt:lpstr>Tech@Agoda –  Docker for Dev Zero to Hero (Workshop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 and 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ker Intro</dc:title>
  <dc:creator>Dickson, Joel (Agoda)</dc:creator>
  <cp:lastModifiedBy>Dickson, Joel (Agoda)</cp:lastModifiedBy>
  <cp:revision>2</cp:revision>
  <dcterms:created xsi:type="dcterms:W3CDTF">2018-05-19T07:43:47Z</dcterms:created>
  <dcterms:modified xsi:type="dcterms:W3CDTF">2019-07-13T05:5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C439CA08BBBD448E5F8998516EA8F0</vt:lpwstr>
  </property>
</Properties>
</file>